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ppt/slides/slide11.xml" ContentType="application/vnd.openxmlformats-officedocument.presentationml.slide+xml"/>
  <Override PartName="/ppt/slides/slide22.xml" ContentType="application/vnd.openxmlformats-officedocument.presentationml.slide+xml"/>
  <Override PartName="/ppt/slides/slide21.xml" ContentType="application/vnd.openxmlformats-officedocument.presentationml.slide+xml"/>
  <Override PartName="/ppt/slides/slide20.xml" ContentType="application/vnd.openxmlformats-officedocument.presentationml.slide+xml"/>
  <Override PartName="/ppt/slides/slide19.xml" ContentType="application/vnd.openxmlformats-officedocument.presentationml.slide+xml"/>
  <Override PartName="/ppt/slides/slide18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30.xml" ContentType="application/vnd.openxmlformats-officedocument.presentationml.slide+xml"/>
  <Override PartName="/ppt/slides/slide29.xml" ContentType="application/vnd.openxmlformats-officedocument.presentationml.slide+xml"/>
  <Override PartName="/ppt/slides/slide28.xml" ContentType="application/vnd.openxmlformats-officedocument.presentationml.slide+xml"/>
  <Override PartName="/ppt/slides/slide27.xml" ContentType="application/vnd.openxmlformats-officedocument.presentationml.slide+xml"/>
  <Override PartName="/ppt/slides/slide26.xml" ContentType="application/vnd.openxmlformats-officedocument.presentationml.slide+xml"/>
  <Override PartName="/ppt/slides/slide17.xml" ContentType="application/vnd.openxmlformats-officedocument.presentationml.slide+xml"/>
  <Override PartName="/ppt/slides/slide16.xml" ContentType="application/vnd.openxmlformats-officedocument.presentationml.slide+xml"/>
  <Override PartName="/ppt/slides/slide1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5.xml" ContentType="application/vnd.openxmlformats-officedocument.presentationml.slide+xml"/>
  <Override PartName="/ppt/slides/slide4.xml" ContentType="application/vnd.openxmlformats-officedocument.presentationml.slide+xml"/>
  <Override PartName="/ppt/slides/slide3.xml" ContentType="application/vnd.openxmlformats-officedocument.presentationml.slide+xml"/>
  <Override PartName="/ppt/slides/slide14.xml" ContentType="application/vnd.openxmlformats-officedocument.presentationml.slide+xml"/>
  <Override PartName="/ppt/slides/slide13.xml" ContentType="application/vnd.openxmlformats-officedocument.presentationml.slide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12.xml" ContentType="application/vnd.openxmlformats-officedocument.presentationml.slide+xml"/>
  <Override PartName="/ppt/slides/slide31.xml" ContentType="application/vnd.openxmlformats-officedocument.presentationml.slide+xml"/>
  <Override PartName="/ppt/slides/slide33.xml" ContentType="application/vnd.openxmlformats-officedocument.presentationml.slide+xml"/>
  <Override PartName="/ppt/slides/slide41.xml" ContentType="application/vnd.openxmlformats-officedocument.presentationml.slide+xml"/>
  <Override PartName="/ppt/slides/slide40.xml" ContentType="application/vnd.openxmlformats-officedocument.presentationml.slide+xml"/>
  <Override PartName="/ppt/slides/slide39.xml" ContentType="application/vnd.openxmlformats-officedocument.presentationml.slide+xml"/>
  <Override PartName="/ppt/slides/slide38.xml" ContentType="application/vnd.openxmlformats-officedocument.presentationml.slide+xml"/>
  <Override PartName="/ppt/slides/slide32.xml" ContentType="application/vnd.openxmlformats-officedocument.presentationml.slide+xml"/>
  <Override PartName="/ppt/slides/slide36.xml" ContentType="application/vnd.openxmlformats-officedocument.presentationml.slide+xml"/>
  <Override PartName="/ppt/slides/slide34.xml" ContentType="application/vnd.openxmlformats-officedocument.presentationml.slide+xml"/>
  <Override PartName="/ppt/slides/slide37.xml" ContentType="application/vnd.openxmlformats-officedocument.presentationml.slide+xml"/>
  <Override PartName="/ppt/slides/slide35.xml" ContentType="application/vnd.openxmlformats-officedocument.presentationml.slide+xml"/>
  <Override PartName="/ppt/notesSlides/notesSlide18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slideMasters/slideMaster1.xml" ContentType="application/vnd.openxmlformats-officedocument.presentationml.slideMaster+xml"/>
  <Override PartName="/ppt/notesSlides/notesSlide30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13.xml" ContentType="application/vnd.openxmlformats-officedocument.presentationml.notesSlide+xml"/>
  <Override PartName="/ppt/slideMasters/slideMaster2.xml" ContentType="application/vnd.openxmlformats-officedocument.presentationml.slideMaster+xml"/>
  <Override PartName="/ppt/notesSlides/notesSlide23.xml" ContentType="application/vnd.openxmlformats-officedocument.presentationml.notesSlide+xml"/>
  <Override PartName="/ppt/slideLayouts/slideLayout8.xml" ContentType="application/vnd.openxmlformats-officedocument.presentationml.slideLayout+xml"/>
  <Override PartName="/ppt/notesSlides/notesSlide3.xml" ContentType="application/vnd.openxmlformats-officedocument.presentationml.notesSlide+xml"/>
  <Override PartName="/ppt/slideLayouts/slideLayout12.xml" ContentType="application/vnd.openxmlformats-officedocument.presentationml.slideLayout+xml"/>
  <Override PartName="/ppt/notesSlides/notesSlide4.xml" ContentType="application/vnd.openxmlformats-officedocument.presentationml.notesSlide+xml"/>
  <Override PartName="/ppt/notesSlides/notesSlide10.xml" ContentType="application/vnd.openxmlformats-officedocument.presentationml.notesSlide+xml"/>
  <Override PartName="/ppt/slideLayouts/slideLayout9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0.xml" ContentType="application/vnd.openxmlformats-officedocument.presentationml.slideLayout+xml"/>
  <Override PartName="/ppt/notesSlides/notesSlide7.xml" ContentType="application/vnd.openxmlformats-officedocument.presentationml.notesSlide+xml"/>
  <Override PartName="/ppt/notesSlides/notesSlide1.xml" ContentType="application/vnd.openxmlformats-officedocument.presentationml.notesSlide+xml"/>
  <Override PartName="/ppt/slideLayouts/slideLayout18.xml" ContentType="application/vnd.openxmlformats-officedocument.presentationml.slideLayout+xml"/>
  <Override PartName="/ppt/notesSlides/notesSlide11.xml" ContentType="application/vnd.openxmlformats-officedocument.presentationml.notesSlide+xml"/>
  <Override PartName="/ppt/notesSlides/notesSlide2.xml" ContentType="application/vnd.openxmlformats-officedocument.presentationml.notesSlide+xml"/>
  <Override PartName="/ppt/slideLayouts/slideLayout17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3.xml" ContentType="application/vnd.openxmlformats-officedocument.presentationml.slideLayout+xml"/>
  <Override PartName="/ppt/notesSlides/notesSlide5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12.xml" ContentType="application/vnd.openxmlformats-officedocument.presentationml.notesSlide+xml"/>
  <Override PartName="/ppt/slideLayouts/slideLayout16.xml" ContentType="application/vnd.openxmlformats-officedocument.presentationml.slideLayout+xml"/>
  <Override PartName="/ppt/notesSlides/notesSlide9.xml" ContentType="application/vnd.openxmlformats-officedocument.presentationml.notesSlide+xml"/>
  <Override PartName="/ppt/slideLayouts/slideLayout2.xml" ContentType="application/vnd.openxmlformats-officedocument.presentationml.slideLayout+xml"/>
  <Override PartName="/ppt/slideLayouts/slideLayout1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handoutMasters/handoutMaster1.xml" ContentType="application/vnd.openxmlformats-officedocument.presentationml.handoutMaster+xml"/>
  <Override PartName="/ppt/theme/theme1.xml" ContentType="application/vnd.openxmlformats-officedocument.theme+xml"/>
  <Override PartName="/ppt/notesMasters/notesMaster1.xml" ContentType="application/vnd.openxmlformats-officedocument.presentationml.notesMaster+xml"/>
  <Override PartName="/ppt/tableStyles.xml" ContentType="application/vnd.openxmlformats-officedocument.presentationml.tableStyle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ags/tag20.xml" ContentType="application/vnd.openxmlformats-officedocument.presentationml.tags+xml"/>
  <Override PartName="/ppt/tags/tag27.xml" ContentType="application/vnd.openxmlformats-officedocument.presentationml.tags+xml"/>
  <Override PartName="/ppt/tags/tag8.xml" ContentType="application/vnd.openxmlformats-officedocument.presentationml.tags+xml"/>
  <Override PartName="/ppt/tags/tag7.xml" ContentType="application/vnd.openxmlformats-officedocument.presentationml.tags+xml"/>
  <Override PartName="/ppt/tags/tag39.xml" ContentType="application/vnd.openxmlformats-officedocument.presentationml.tags+xml"/>
  <Override PartName="/ppt/tags/tag28.xml" ContentType="application/vnd.openxmlformats-officedocument.presentationml.tags+xml"/>
  <Override PartName="/ppt/tags/tag36.xml" ContentType="application/vnd.openxmlformats-officedocument.presentationml.tags+xml"/>
  <Override PartName="/ppt/tags/tag6.xml" ContentType="application/vnd.openxmlformats-officedocument.presentationml.tags+xml"/>
  <Override PartName="/ppt/tags/tag34.xml" ContentType="application/vnd.openxmlformats-officedocument.presentationml.tags+xml"/>
  <Override PartName="/ppt/tags/tag30.xml" ContentType="application/vnd.openxmlformats-officedocument.presentationml.tags+xml"/>
  <Override PartName="/ppt/tags/tag33.xml" ContentType="application/vnd.openxmlformats-officedocument.presentationml.tags+xml"/>
  <Override PartName="/ppt/tags/tag1.xml" ContentType="application/vnd.openxmlformats-officedocument.presentationml.tags+xml"/>
  <Override PartName="/ppt/tags/tag32.xml" ContentType="application/vnd.openxmlformats-officedocument.presentationml.tags+xml"/>
  <Override PartName="/ppt/tags/tag35.xml" ContentType="application/vnd.openxmlformats-officedocument.presentationml.tags+xml"/>
  <Override PartName="/ppt/tags/tag29.xml" ContentType="application/vnd.openxmlformats-officedocument.presentationml.tags+xml"/>
  <Override PartName="/ppt/tags/tag2.xml" ContentType="application/vnd.openxmlformats-officedocument.presentationml.tags+xml"/>
  <Override PartName="/ppt/tags/tag37.xml" ContentType="application/vnd.openxmlformats-officedocument.presentationml.tags+xml"/>
  <Override PartName="/ppt/tags/tag5.xml" ContentType="application/vnd.openxmlformats-officedocument.presentationml.tags+xml"/>
  <Override PartName="/ppt/tags/tag4.xml" ContentType="application/vnd.openxmlformats-officedocument.presentationml.tags+xml"/>
  <Override PartName="/ppt/tags/tag3.xml" ContentType="application/vnd.openxmlformats-officedocument.presentationml.tags+xml"/>
  <Override PartName="/ppt/tags/tag38.xml" ContentType="application/vnd.openxmlformats-officedocument.presentationml.tags+xml"/>
  <Override PartName="/ppt/tags/tag31.xml" ContentType="application/vnd.openxmlformats-officedocument.presentationml.tags+xml"/>
  <Override PartName="/ppt/tags/tag9.xml" ContentType="application/vnd.openxmlformats-officedocument.presentationml.tags+xml"/>
  <Override PartName="/docProps/custom.xml" ContentType="application/vnd.openxmlformats-officedocument.custom-properties+xml"/>
  <Override PartName="/docProps/app.xml" ContentType="application/vnd.openxmlformats-officedocument.extended-properties+xml"/>
  <Override PartName="/ppt/tags/tag13.xml" ContentType="application/vnd.openxmlformats-officedocument.presentationml.tags+xml"/>
  <Override PartName="/docProps/core.xml" ContentType="application/vnd.openxmlformats-package.core-properties+xml"/>
  <Override PartName="/ppt/tags/tag52.xml" ContentType="application/vnd.openxmlformats-officedocument.presentationml.tags+xml"/>
  <Override PartName="/ppt/tags/tag51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9.xml" ContentType="application/vnd.openxmlformats-officedocument.presentationml.tags+xml"/>
  <Override PartName="/ppt/tags/tag21.xml" ContentType="application/vnd.openxmlformats-officedocument.presentationml.tags+xml"/>
  <Override PartName="/ppt/tags/tag18.xml" ContentType="application/vnd.openxmlformats-officedocument.presentationml.tags+xml"/>
  <Override PartName="/ppt/tags/tag22.xml" ContentType="application/vnd.openxmlformats-officedocument.presentationml.tags+xml"/>
  <Override PartName="/ppt/tags/tag17.xml" ContentType="application/vnd.openxmlformats-officedocument.presentationml.tags+xml"/>
  <Override PartName="/ppt/tags/tag40.xml" ContentType="application/vnd.openxmlformats-officedocument.presentationml.tags+xml"/>
  <Override PartName="/ppt/tags/tag12.xml" ContentType="application/vnd.openxmlformats-officedocument.presentationml.tags+xml"/>
  <Override PartName="/ppt/tags/tag10.xml" ContentType="application/vnd.openxmlformats-officedocument.presentationml.tags+xml"/>
  <Override PartName="/ppt/tags/tag25.xml" ContentType="application/vnd.openxmlformats-officedocument.presentationml.tags+xml"/>
  <Override PartName="/ppt/tags/tag44.xml" ContentType="application/vnd.openxmlformats-officedocument.presentationml.tags+xml"/>
  <Override PartName="/ppt/tags/tag43.xml" ContentType="application/vnd.openxmlformats-officedocument.presentationml.tags+xml"/>
  <Override PartName="/ppt/tags/tag42.xml" ContentType="application/vnd.openxmlformats-officedocument.presentationml.tags+xml"/>
  <Override PartName="/ppt/tags/tag26.xml" ContentType="application/vnd.openxmlformats-officedocument.presentationml.tags+xml"/>
  <Override PartName="/ppt/tags/tag41.xml" ContentType="application/vnd.openxmlformats-officedocument.presentationml.tags+xml"/>
  <Override PartName="/ppt/tags/tag45.xml" ContentType="application/vnd.openxmlformats-officedocument.presentationml.tags+xml"/>
  <Override PartName="/ppt/tags/tag11.xml" ContentType="application/vnd.openxmlformats-officedocument.presentationml.tags+xml"/>
  <Override PartName="/ppt/tags/tag23.xml" ContentType="application/vnd.openxmlformats-officedocument.presentationml.tags+xml"/>
  <Override PartName="/ppt/tags/tag48.xml" ContentType="application/vnd.openxmlformats-officedocument.presentationml.tags+xml"/>
  <Override PartName="/ppt/tags/tag47.xml" ContentType="application/vnd.openxmlformats-officedocument.presentationml.tags+xml"/>
  <Override PartName="/ppt/tags/tag24.xml" ContentType="application/vnd.openxmlformats-officedocument.presentationml.tags+xml"/>
  <Override PartName="/ppt/tags/tag50.xml" ContentType="application/vnd.openxmlformats-officedocument.presentationml.tags+xml"/>
  <Override PartName="/ppt/tags/tag46.xml" ContentType="application/vnd.openxmlformats-officedocument.presentationml.tags+xml"/>
  <Override PartName="/ppt/tags/tag49.xml" ContentType="application/vnd.openxmlformats-officedocument.presentationml.tags+xml"/>
  <Override PartName="/ppt/revisionInfo.xml" ContentType="application/vnd.ms-powerpoint.revisioninfo+xml"/>
  <Override PartName="/ppt/changesInfos/changesInfo1.xml" ContentType="application/vnd.ms-powerpoint.changesinfo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99" r:id="rId2"/>
  </p:sldMasterIdLst>
  <p:notesMasterIdLst>
    <p:notesMasterId r:id="rId44"/>
  </p:notesMasterIdLst>
  <p:handoutMasterIdLst>
    <p:handoutMasterId r:id="rId45"/>
  </p:handoutMasterIdLst>
  <p:sldIdLst>
    <p:sldId id="453" r:id="rId3"/>
    <p:sldId id="2147472595" r:id="rId4"/>
    <p:sldId id="2147472596" r:id="rId5"/>
    <p:sldId id="2147472598" r:id="rId6"/>
    <p:sldId id="2147472675" r:id="rId7"/>
    <p:sldId id="2147472674" r:id="rId8"/>
    <p:sldId id="2147472676" r:id="rId9"/>
    <p:sldId id="2147472677" r:id="rId10"/>
    <p:sldId id="2147472678" r:id="rId11"/>
    <p:sldId id="2147472679" r:id="rId12"/>
    <p:sldId id="2147472680" r:id="rId13"/>
    <p:sldId id="2147472681" r:id="rId14"/>
    <p:sldId id="2147472682" r:id="rId15"/>
    <p:sldId id="2147472683" r:id="rId16"/>
    <p:sldId id="2147472684" r:id="rId17"/>
    <p:sldId id="2147472686" r:id="rId18"/>
    <p:sldId id="2147472687" r:id="rId19"/>
    <p:sldId id="2147472688" r:id="rId20"/>
    <p:sldId id="2147472689" r:id="rId21"/>
    <p:sldId id="2147472690" r:id="rId22"/>
    <p:sldId id="2147472691" r:id="rId23"/>
    <p:sldId id="2147472692" r:id="rId24"/>
    <p:sldId id="2147472693" r:id="rId25"/>
    <p:sldId id="2147472694" r:id="rId26"/>
    <p:sldId id="2147472695" r:id="rId27"/>
    <p:sldId id="2147472696" r:id="rId28"/>
    <p:sldId id="2147472697" r:id="rId29"/>
    <p:sldId id="2147472698" r:id="rId30"/>
    <p:sldId id="2147472699" r:id="rId31"/>
    <p:sldId id="2147472700" r:id="rId32"/>
    <p:sldId id="2147472701" r:id="rId33"/>
    <p:sldId id="2147472702" r:id="rId34"/>
    <p:sldId id="2147472703" r:id="rId35"/>
    <p:sldId id="2147472708" r:id="rId36"/>
    <p:sldId id="2147472704" r:id="rId37"/>
    <p:sldId id="2147472709" r:id="rId38"/>
    <p:sldId id="2147472706" r:id="rId39"/>
    <p:sldId id="2147472707" r:id="rId40"/>
    <p:sldId id="2147472710" r:id="rId41"/>
    <p:sldId id="2147472711" r:id="rId42"/>
    <p:sldId id="2147472671" r:id="rId43"/>
  </p:sldIdLst>
  <p:sldSz cx="12192000" cy="6858000"/>
  <p:notesSz cx="6858000" cy="9144000"/>
  <p:custDataLst>
    <p:tags r:id="rId46"/>
  </p:custDataLst>
  <p:defaultTextStyle>
    <a:defPPr>
      <a:defRPr lang="es-C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modifyVerifier cryptProviderType="rsaAES" cryptAlgorithmClass="hash" cryptAlgorithmType="typeAny" cryptAlgorithmSid="14" spinCount="100000" saltData="/916dURMrIaj8ucxxoSBtw==" hashData="n8pr3kXLEoxP8ga/Xs27Rpv9aWrFu0L9V7f1FmZT97tie/2cbTLqD54OV+DBZvvw2F7suyEGZzpL7HS5MFf0pg=="/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3C045"/>
    <a:srgbClr val="004C14"/>
    <a:srgbClr val="E60000"/>
    <a:srgbClr val="FFDD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8668647-0E4E-4D51-9C0E-13926B4FF229}" v="3059" dt="2023-07-13T15:51:45.459"/>
  </p1510:revLst>
</p1510:revInfo>
</file>

<file path=ppt/tableStyles.xml><?xml version="1.0" encoding="utf-8"?>
<a:tblStyleLst xmlns:a="http://schemas.openxmlformats.org/drawingml/2006/main" def="{5C22544A-7EE6-4342-B048-85BDC9FD1C3A}">
  <a:tblStyle styleId="{5DA37D80-6434-44D0-A028-1B22A696006F}" styleName="Estilo claro 3 - Acento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BC89EF96-8CEA-46FF-86C4-4CE0E7609802}" styleName="Estilo claro 3 - Acento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7189" autoAdjust="0"/>
    <p:restoredTop sz="86951" autoAdjust="0"/>
  </p:normalViewPr>
  <p:slideViewPr>
    <p:cSldViewPr snapToGrid="0">
      <p:cViewPr varScale="1">
        <p:scale>
          <a:sx n="67" d="100"/>
          <a:sy n="67" d="100"/>
        </p:scale>
        <p:origin x="488" y="56"/>
      </p:cViewPr>
      <p:guideLst/>
    </p:cSldViewPr>
  </p:slideViewPr>
  <p:outlineViewPr>
    <p:cViewPr>
      <p:scale>
        <a:sx n="33" d="100"/>
        <a:sy n="33" d="100"/>
      </p:scale>
      <p:origin x="0" y="-27438"/>
    </p:cViewPr>
  </p:outlin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59" d="100"/>
          <a:sy n="59" d="100"/>
        </p:scale>
        <p:origin x="2790" y="7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slide" Target="slides/slide37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42" Type="http://schemas.openxmlformats.org/officeDocument/2006/relationships/slide" Target="slides/slide40.xml"/><Relationship Id="rId47" Type="http://schemas.openxmlformats.org/officeDocument/2006/relationships/presProps" Target="presProps.xml"/><Relationship Id="rId50" Type="http://schemas.openxmlformats.org/officeDocument/2006/relationships/tableStyles" Target="tableStyles.xml"/><Relationship Id="rId55" Type="http://schemas.openxmlformats.org/officeDocument/2006/relationships/customXml" Target="../customXml/item3.xml"/><Relationship Id="rId7" Type="http://schemas.openxmlformats.org/officeDocument/2006/relationships/slide" Target="slides/slide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9" Type="http://schemas.openxmlformats.org/officeDocument/2006/relationships/slide" Target="slides/slide27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slide" Target="slides/slide35.xml"/><Relationship Id="rId40" Type="http://schemas.openxmlformats.org/officeDocument/2006/relationships/slide" Target="slides/slide38.xml"/><Relationship Id="rId45" Type="http://schemas.openxmlformats.org/officeDocument/2006/relationships/handoutMaster" Target="handoutMasters/handoutMaster1.xml"/><Relationship Id="rId53" Type="http://schemas.openxmlformats.org/officeDocument/2006/relationships/customXml" Target="../customXml/item1.xml"/><Relationship Id="rId5" Type="http://schemas.openxmlformats.org/officeDocument/2006/relationships/slide" Target="slides/slide3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4" Type="http://schemas.openxmlformats.org/officeDocument/2006/relationships/notesMaster" Target="notesMasters/notesMaster1.xml"/><Relationship Id="rId52" Type="http://schemas.microsoft.com/office/2015/10/relationships/revisionInfo" Target="revisionInfo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slide" Target="slides/slide33.xml"/><Relationship Id="rId43" Type="http://schemas.openxmlformats.org/officeDocument/2006/relationships/slide" Target="slides/slide41.xml"/><Relationship Id="rId48" Type="http://schemas.openxmlformats.org/officeDocument/2006/relationships/viewProps" Target="viewProps.xml"/><Relationship Id="rId8" Type="http://schemas.openxmlformats.org/officeDocument/2006/relationships/slide" Target="slides/slide6.xml"/><Relationship Id="rId51" Type="http://schemas.microsoft.com/office/2016/11/relationships/changesInfo" Target="changesInfos/changesInfo1.xml"/><Relationship Id="rId3" Type="http://schemas.openxmlformats.org/officeDocument/2006/relationships/slide" Target="slides/slide1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slide" Target="slides/slide36.xml"/><Relationship Id="rId46" Type="http://schemas.openxmlformats.org/officeDocument/2006/relationships/tags" Target="tags/tag1.xml"/><Relationship Id="rId20" Type="http://schemas.openxmlformats.org/officeDocument/2006/relationships/slide" Target="slides/slide18.xml"/><Relationship Id="rId41" Type="http://schemas.openxmlformats.org/officeDocument/2006/relationships/slide" Target="slides/slide39.xml"/><Relationship Id="rId54" Type="http://schemas.openxmlformats.org/officeDocument/2006/relationships/customXml" Target="../customXml/item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slide" Target="slides/slide34.xml"/><Relationship Id="rId49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Brito Cortés, Sofía Constanza" userId="bc780694-5ad3-4b43-9d08-68ceeeeb3a92" providerId="ADAL" clId="{78668647-0E4E-4D51-9C0E-13926B4FF229}"/>
    <pc:docChg chg="undo custSel addSld delSld modSld sldOrd modMainMaster modSection replTag">
      <pc:chgData name="Brito Cortés, Sofía Constanza" userId="bc780694-5ad3-4b43-9d08-68ceeeeb3a92" providerId="ADAL" clId="{78668647-0E4E-4D51-9C0E-13926B4FF229}" dt="2023-07-13T15:51:45.458" v="5563" actId="20578"/>
      <pc:docMkLst>
        <pc:docMk/>
      </pc:docMkLst>
      <pc:sldChg chg="delSp">
        <pc:chgData name="Brito Cortés, Sofía Constanza" userId="bc780694-5ad3-4b43-9d08-68ceeeeb3a92" providerId="ADAL" clId="{78668647-0E4E-4D51-9C0E-13926B4FF229}" dt="2023-07-13T15:44:17.838" v="5554"/>
        <pc:sldMkLst>
          <pc:docMk/>
          <pc:sldMk cId="0" sldId="279"/>
        </pc:sldMkLst>
        <pc:spChg chg="del">
          <ac:chgData name="Brito Cortés, Sofía Constanza" userId="bc780694-5ad3-4b43-9d08-68ceeeeb3a92" providerId="ADAL" clId="{78668647-0E4E-4D51-9C0E-13926B4FF229}" dt="2023-07-13T15:44:17.838" v="5554"/>
          <ac:spMkLst>
            <pc:docMk/>
            <pc:sldMk cId="0" sldId="279"/>
            <ac:spMk id="2" creationId="{2E7E7DBF-90A8-1A51-8FCC-DD65465B3770}"/>
          </ac:spMkLst>
        </pc:spChg>
      </pc:sldChg>
      <pc:sldChg chg="delSp">
        <pc:chgData name="Brito Cortés, Sofía Constanza" userId="bc780694-5ad3-4b43-9d08-68ceeeeb3a92" providerId="ADAL" clId="{78668647-0E4E-4D51-9C0E-13926B4FF229}" dt="2023-07-13T15:44:17.838" v="5554"/>
        <pc:sldMkLst>
          <pc:docMk/>
          <pc:sldMk cId="0" sldId="284"/>
        </pc:sldMkLst>
        <pc:spChg chg="del">
          <ac:chgData name="Brito Cortés, Sofía Constanza" userId="bc780694-5ad3-4b43-9d08-68ceeeeb3a92" providerId="ADAL" clId="{78668647-0E4E-4D51-9C0E-13926B4FF229}" dt="2023-07-13T15:44:17.838" v="5554"/>
          <ac:spMkLst>
            <pc:docMk/>
            <pc:sldMk cId="0" sldId="284"/>
            <ac:spMk id="2" creationId="{2DC4924F-8F1B-95D2-8254-0929E8061B5D}"/>
          </ac:spMkLst>
        </pc:spChg>
      </pc:sldChg>
      <pc:sldChg chg="delSp">
        <pc:chgData name="Brito Cortés, Sofía Constanza" userId="bc780694-5ad3-4b43-9d08-68ceeeeb3a92" providerId="ADAL" clId="{78668647-0E4E-4D51-9C0E-13926B4FF229}" dt="2023-07-13T15:44:17.838" v="5554"/>
        <pc:sldMkLst>
          <pc:docMk/>
          <pc:sldMk cId="2571665260" sldId="352"/>
        </pc:sldMkLst>
        <pc:spChg chg="del">
          <ac:chgData name="Brito Cortés, Sofía Constanza" userId="bc780694-5ad3-4b43-9d08-68ceeeeb3a92" providerId="ADAL" clId="{78668647-0E4E-4D51-9C0E-13926B4FF229}" dt="2023-07-13T15:44:17.838" v="5554"/>
          <ac:spMkLst>
            <pc:docMk/>
            <pc:sldMk cId="2571665260" sldId="352"/>
            <ac:spMk id="2" creationId="{5255C6D4-96B0-F707-5058-20B797FA8DC3}"/>
          </ac:spMkLst>
        </pc:spChg>
      </pc:sldChg>
      <pc:sldChg chg="delSp">
        <pc:chgData name="Brito Cortés, Sofía Constanza" userId="bc780694-5ad3-4b43-9d08-68ceeeeb3a92" providerId="ADAL" clId="{78668647-0E4E-4D51-9C0E-13926B4FF229}" dt="2023-07-13T15:44:17.838" v="5554"/>
        <pc:sldMkLst>
          <pc:docMk/>
          <pc:sldMk cId="1198807975" sldId="354"/>
        </pc:sldMkLst>
        <pc:spChg chg="del">
          <ac:chgData name="Brito Cortés, Sofía Constanza" userId="bc780694-5ad3-4b43-9d08-68ceeeeb3a92" providerId="ADAL" clId="{78668647-0E4E-4D51-9C0E-13926B4FF229}" dt="2023-07-13T15:44:17.838" v="5554"/>
          <ac:spMkLst>
            <pc:docMk/>
            <pc:sldMk cId="1198807975" sldId="354"/>
            <ac:spMk id="3" creationId="{55509333-A291-D808-C4DC-737442D05B26}"/>
          </ac:spMkLst>
        </pc:spChg>
      </pc:sldChg>
      <pc:sldChg chg="addSp delSp modSp mod ord">
        <pc:chgData name="Brito Cortés, Sofía Constanza" userId="bc780694-5ad3-4b43-9d08-68ceeeeb3a92" providerId="ADAL" clId="{78668647-0E4E-4D51-9C0E-13926B4FF229}" dt="2023-07-13T15:01:03.462" v="5373" actId="14100"/>
        <pc:sldMkLst>
          <pc:docMk/>
          <pc:sldMk cId="667833205" sldId="459"/>
        </pc:sldMkLst>
        <pc:spChg chg="del">
          <ac:chgData name="Brito Cortés, Sofía Constanza" userId="bc780694-5ad3-4b43-9d08-68ceeeeb3a92" providerId="ADAL" clId="{78668647-0E4E-4D51-9C0E-13926B4FF229}" dt="2023-07-13T15:00:21.461" v="5156" actId="478"/>
          <ac:spMkLst>
            <pc:docMk/>
            <pc:sldMk cId="667833205" sldId="459"/>
            <ac:spMk id="3" creationId="{461C20CF-53C1-7E43-826E-18C48783904D}"/>
          </ac:spMkLst>
        </pc:spChg>
        <pc:spChg chg="mod">
          <ac:chgData name="Brito Cortés, Sofía Constanza" userId="bc780694-5ad3-4b43-9d08-68ceeeeb3a92" providerId="ADAL" clId="{78668647-0E4E-4D51-9C0E-13926B4FF229}" dt="2023-07-13T15:00:49.155" v="5371" actId="14100"/>
          <ac:spMkLst>
            <pc:docMk/>
            <pc:sldMk cId="667833205" sldId="459"/>
            <ac:spMk id="5" creationId="{00000000-0000-0000-0000-000000000000}"/>
          </ac:spMkLst>
        </pc:spChg>
        <pc:spChg chg="del">
          <ac:chgData name="Brito Cortés, Sofía Constanza" userId="bc780694-5ad3-4b43-9d08-68ceeeeb3a92" providerId="ADAL" clId="{78668647-0E4E-4D51-9C0E-13926B4FF229}" dt="2023-07-13T15:00:21.461" v="5156" actId="478"/>
          <ac:spMkLst>
            <pc:docMk/>
            <pc:sldMk cId="667833205" sldId="459"/>
            <ac:spMk id="6" creationId="{1D52B184-AC18-FBFE-23A8-2AD3A7751219}"/>
          </ac:spMkLst>
        </pc:spChg>
        <pc:spChg chg="del">
          <ac:chgData name="Brito Cortés, Sofía Constanza" userId="bc780694-5ad3-4b43-9d08-68ceeeeb3a92" providerId="ADAL" clId="{78668647-0E4E-4D51-9C0E-13926B4FF229}" dt="2023-07-13T15:00:21.461" v="5156" actId="478"/>
          <ac:spMkLst>
            <pc:docMk/>
            <pc:sldMk cId="667833205" sldId="459"/>
            <ac:spMk id="7" creationId="{D9608A01-CBA6-877D-1BFB-D1352FFD67A7}"/>
          </ac:spMkLst>
        </pc:spChg>
        <pc:spChg chg="del">
          <ac:chgData name="Brito Cortés, Sofía Constanza" userId="bc780694-5ad3-4b43-9d08-68ceeeeb3a92" providerId="ADAL" clId="{78668647-0E4E-4D51-9C0E-13926B4FF229}" dt="2023-07-13T15:00:21.461" v="5156" actId="478"/>
          <ac:spMkLst>
            <pc:docMk/>
            <pc:sldMk cId="667833205" sldId="459"/>
            <ac:spMk id="8" creationId="{99F78117-3F32-8A2B-7920-69DE756448D7}"/>
          </ac:spMkLst>
        </pc:spChg>
        <pc:spChg chg="del">
          <ac:chgData name="Brito Cortés, Sofía Constanza" userId="bc780694-5ad3-4b43-9d08-68ceeeeb3a92" providerId="ADAL" clId="{78668647-0E4E-4D51-9C0E-13926B4FF229}" dt="2023-07-13T15:00:21.461" v="5156" actId="478"/>
          <ac:spMkLst>
            <pc:docMk/>
            <pc:sldMk cId="667833205" sldId="459"/>
            <ac:spMk id="9" creationId="{69C3A41C-F820-0352-6504-8553680263BB}"/>
          </ac:spMkLst>
        </pc:spChg>
        <pc:spChg chg="mod">
          <ac:chgData name="Brito Cortés, Sofía Constanza" userId="bc780694-5ad3-4b43-9d08-68ceeeeb3a92" providerId="ADAL" clId="{78668647-0E4E-4D51-9C0E-13926B4FF229}" dt="2023-07-13T15:01:03.462" v="5373" actId="14100"/>
          <ac:spMkLst>
            <pc:docMk/>
            <pc:sldMk cId="667833205" sldId="459"/>
            <ac:spMk id="10" creationId="{3CBEAD6F-F1C1-7AAF-A62F-652C6D10E52E}"/>
          </ac:spMkLst>
        </pc:spChg>
        <pc:spChg chg="add mod replST">
          <ac:chgData name="Brito Cortés, Sofía Constanza" userId="bc780694-5ad3-4b43-9d08-68ceeeeb3a92" providerId="ADAL" clId="{78668647-0E4E-4D51-9C0E-13926B4FF229}" dt="2023-07-13T15:00:22.466" v="5162"/>
          <ac:spMkLst>
            <pc:docMk/>
            <pc:sldMk cId="667833205" sldId="459"/>
            <ac:spMk id="11" creationId="{93411294-A0AB-1D70-8401-DD5F3C80077D}"/>
          </ac:spMkLst>
        </pc:spChg>
        <pc:spChg chg="add mod replST">
          <ac:chgData name="Brito Cortés, Sofía Constanza" userId="bc780694-5ad3-4b43-9d08-68ceeeeb3a92" providerId="ADAL" clId="{78668647-0E4E-4D51-9C0E-13926B4FF229}" dt="2023-07-13T15:00:22.469" v="5166"/>
          <ac:spMkLst>
            <pc:docMk/>
            <pc:sldMk cId="667833205" sldId="459"/>
            <ac:spMk id="12" creationId="{A4517A2C-1723-6B04-2F98-D27B962CAA24}"/>
          </ac:spMkLst>
        </pc:spChg>
        <pc:spChg chg="add mod replST">
          <ac:chgData name="Brito Cortés, Sofía Constanza" userId="bc780694-5ad3-4b43-9d08-68ceeeeb3a92" providerId="ADAL" clId="{78668647-0E4E-4D51-9C0E-13926B4FF229}" dt="2023-07-13T15:00:22.613" v="5252" actId="948"/>
          <ac:spMkLst>
            <pc:docMk/>
            <pc:sldMk cId="667833205" sldId="459"/>
            <ac:spMk id="13" creationId="{FD41E0F0-A19C-3FCE-A043-FB0037773CD7}"/>
          </ac:spMkLst>
        </pc:spChg>
        <pc:spChg chg="add mod replST">
          <ac:chgData name="Brito Cortés, Sofía Constanza" userId="bc780694-5ad3-4b43-9d08-68ceeeeb3a92" providerId="ADAL" clId="{78668647-0E4E-4D51-9C0E-13926B4FF229}" dt="2023-07-13T15:00:22.655" v="5290" actId="948"/>
          <ac:spMkLst>
            <pc:docMk/>
            <pc:sldMk cId="667833205" sldId="459"/>
            <ac:spMk id="14" creationId="{0BBD1A27-BDEE-32A4-C741-FFD9CD75AFA8}"/>
          </ac:spMkLst>
        </pc:spChg>
        <pc:spChg chg="add mod replST">
          <ac:chgData name="Brito Cortés, Sofía Constanza" userId="bc780694-5ad3-4b43-9d08-68ceeeeb3a92" providerId="ADAL" clId="{78668647-0E4E-4D51-9C0E-13926B4FF229}" dt="2023-07-13T15:00:22.660" v="5293" actId="948"/>
          <ac:spMkLst>
            <pc:docMk/>
            <pc:sldMk cId="667833205" sldId="459"/>
            <ac:spMk id="15" creationId="{7C9E39AD-1030-B34B-2D19-5BAF5EF60258}"/>
          </ac:spMkLst>
        </pc:spChg>
        <pc:spChg chg="add mod replST">
          <ac:chgData name="Brito Cortés, Sofía Constanza" userId="bc780694-5ad3-4b43-9d08-68ceeeeb3a92" providerId="ADAL" clId="{78668647-0E4E-4D51-9C0E-13926B4FF229}" dt="2023-07-13T15:00:22.664" v="5296" actId="948"/>
          <ac:spMkLst>
            <pc:docMk/>
            <pc:sldMk cId="667833205" sldId="459"/>
            <ac:spMk id="16" creationId="{F87B1D46-0C3A-B38A-DA8D-16C02E4C68A9}"/>
          </ac:spMkLst>
        </pc:spChg>
        <pc:spChg chg="add mod replST">
          <ac:chgData name="Brito Cortés, Sofía Constanza" userId="bc780694-5ad3-4b43-9d08-68ceeeeb3a92" providerId="ADAL" clId="{78668647-0E4E-4D51-9C0E-13926B4FF229}" dt="2023-07-13T15:00:22.684" v="5309"/>
          <ac:spMkLst>
            <pc:docMk/>
            <pc:sldMk cId="667833205" sldId="459"/>
            <ac:spMk id="27" creationId="{22EA5A39-DEAA-7CAC-45B0-C1D0EE195061}"/>
          </ac:spMkLst>
        </pc:spChg>
        <pc:spChg chg="add mod replST">
          <ac:chgData name="Brito Cortés, Sofía Constanza" userId="bc780694-5ad3-4b43-9d08-68ceeeeb3a92" providerId="ADAL" clId="{78668647-0E4E-4D51-9C0E-13926B4FF229}" dt="2023-07-13T15:00:22.693" v="5310"/>
          <ac:spMkLst>
            <pc:docMk/>
            <pc:sldMk cId="667833205" sldId="459"/>
            <ac:spMk id="28" creationId="{510A7E9A-4606-047E-96CC-9F225DC8CDAB}"/>
          </ac:spMkLst>
        </pc:spChg>
        <pc:spChg chg="add mod replST">
          <ac:chgData name="Brito Cortés, Sofía Constanza" userId="bc780694-5ad3-4b43-9d08-68ceeeeb3a92" providerId="ADAL" clId="{78668647-0E4E-4D51-9C0E-13926B4FF229}" dt="2023-07-13T15:00:22.470" v="5169"/>
          <ac:spMkLst>
            <pc:docMk/>
            <pc:sldMk cId="667833205" sldId="459"/>
            <ac:spMk id="29" creationId="{80D71C27-2B06-41BA-779A-D59AA7A4E702}"/>
          </ac:spMkLst>
        </pc:spChg>
        <pc:spChg chg="add mod replST">
          <ac:chgData name="Brito Cortés, Sofía Constanza" userId="bc780694-5ad3-4b43-9d08-68ceeeeb3a92" providerId="ADAL" clId="{78668647-0E4E-4D51-9C0E-13926B4FF229}" dt="2023-07-13T15:00:22.474" v="5177"/>
          <ac:spMkLst>
            <pc:docMk/>
            <pc:sldMk cId="667833205" sldId="459"/>
            <ac:spMk id="30" creationId="{F59D7F4F-91FD-1FAC-5AC9-3D29E22A0D82}"/>
          </ac:spMkLst>
        </pc:spChg>
        <pc:spChg chg="del">
          <ac:chgData name="Brito Cortés, Sofía Constanza" userId="bc780694-5ad3-4b43-9d08-68ceeeeb3a92" providerId="ADAL" clId="{78668647-0E4E-4D51-9C0E-13926B4FF229}" dt="2023-07-13T15:00:21.461" v="5156" actId="478"/>
          <ac:spMkLst>
            <pc:docMk/>
            <pc:sldMk cId="667833205" sldId="459"/>
            <ac:spMk id="31" creationId="{E7B1E926-FA9E-4D00-B6E5-0FA560C3E887}"/>
          </ac:spMkLst>
        </pc:spChg>
        <pc:spChg chg="del">
          <ac:chgData name="Brito Cortés, Sofía Constanza" userId="bc780694-5ad3-4b43-9d08-68ceeeeb3a92" providerId="ADAL" clId="{78668647-0E4E-4D51-9C0E-13926B4FF229}" dt="2023-07-13T15:00:21.461" v="5156" actId="478"/>
          <ac:spMkLst>
            <pc:docMk/>
            <pc:sldMk cId="667833205" sldId="459"/>
            <ac:spMk id="32" creationId="{26091BE0-EEE1-4645-83BF-399B5535257F}"/>
          </ac:spMkLst>
        </pc:spChg>
        <pc:spChg chg="add mod replST">
          <ac:chgData name="Brito Cortés, Sofía Constanza" userId="bc780694-5ad3-4b43-9d08-68ceeeeb3a92" providerId="ADAL" clId="{78668647-0E4E-4D51-9C0E-13926B4FF229}" dt="2023-07-13T15:00:22.478" v="5183"/>
          <ac:spMkLst>
            <pc:docMk/>
            <pc:sldMk cId="667833205" sldId="459"/>
            <ac:spMk id="33" creationId="{431DF274-4CD1-252C-6303-58013AE0AAD0}"/>
          </ac:spMkLst>
        </pc:spChg>
        <pc:spChg chg="add mod replST">
          <ac:chgData name="Brito Cortés, Sofía Constanza" userId="bc780694-5ad3-4b43-9d08-68ceeeeb3a92" providerId="ADAL" clId="{78668647-0E4E-4D51-9C0E-13926B4FF229}" dt="2023-07-13T15:00:22.474" v="5175"/>
          <ac:spMkLst>
            <pc:docMk/>
            <pc:sldMk cId="667833205" sldId="459"/>
            <ac:spMk id="34" creationId="{586054D6-9B13-F1DD-B781-58389C3E3234}"/>
          </ac:spMkLst>
        </pc:spChg>
        <pc:spChg chg="add mod replST">
          <ac:chgData name="Brito Cortés, Sofía Constanza" userId="bc780694-5ad3-4b43-9d08-68ceeeeb3a92" providerId="ADAL" clId="{78668647-0E4E-4D51-9C0E-13926B4FF229}" dt="2023-07-13T15:00:22.477" v="5181"/>
          <ac:spMkLst>
            <pc:docMk/>
            <pc:sldMk cId="667833205" sldId="459"/>
            <ac:spMk id="35" creationId="{B89FA94E-9E64-73BB-E1DC-9031167675DE}"/>
          </ac:spMkLst>
        </pc:spChg>
        <pc:spChg chg="add mod replST">
          <ac:chgData name="Brito Cortés, Sofía Constanza" userId="bc780694-5ad3-4b43-9d08-68ceeeeb3a92" providerId="ADAL" clId="{78668647-0E4E-4D51-9C0E-13926B4FF229}" dt="2023-07-13T15:00:22.472" v="5173"/>
          <ac:spMkLst>
            <pc:docMk/>
            <pc:sldMk cId="667833205" sldId="459"/>
            <ac:spMk id="36" creationId="{1446A096-992B-4496-2C62-5BD58392A2D4}"/>
          </ac:spMkLst>
        </pc:spChg>
        <pc:spChg chg="add mod replST">
          <ac:chgData name="Brito Cortés, Sofía Constanza" userId="bc780694-5ad3-4b43-9d08-68ceeeeb3a92" providerId="ADAL" clId="{78668647-0E4E-4D51-9C0E-13926B4FF229}" dt="2023-07-13T15:00:22.483" v="5189"/>
          <ac:spMkLst>
            <pc:docMk/>
            <pc:sldMk cId="667833205" sldId="459"/>
            <ac:spMk id="37" creationId="{4D03E464-D20F-EEF9-3A94-0FD1A9C72EBA}"/>
          </ac:spMkLst>
        </pc:spChg>
        <pc:spChg chg="add mod replST">
          <ac:chgData name="Brito Cortés, Sofía Constanza" userId="bc780694-5ad3-4b43-9d08-68ceeeeb3a92" providerId="ADAL" clId="{78668647-0E4E-4D51-9C0E-13926B4FF229}" dt="2023-07-13T15:00:22.475" v="5179"/>
          <ac:spMkLst>
            <pc:docMk/>
            <pc:sldMk cId="667833205" sldId="459"/>
            <ac:spMk id="38" creationId="{84098658-BD5F-CCAB-0328-F405E00FE7AB}"/>
          </ac:spMkLst>
        </pc:spChg>
        <pc:spChg chg="add mod replST">
          <ac:chgData name="Brito Cortés, Sofía Constanza" userId="bc780694-5ad3-4b43-9d08-68ceeeeb3a92" providerId="ADAL" clId="{78668647-0E4E-4D51-9C0E-13926B4FF229}" dt="2023-07-13T15:00:22.471" v="5171"/>
          <ac:spMkLst>
            <pc:docMk/>
            <pc:sldMk cId="667833205" sldId="459"/>
            <ac:spMk id="39" creationId="{E8521B0E-9D76-C45C-5CB2-C79A875E2F22}"/>
          </ac:spMkLst>
        </pc:spChg>
        <pc:spChg chg="add mod replST">
          <ac:chgData name="Brito Cortés, Sofía Constanza" userId="bc780694-5ad3-4b43-9d08-68ceeeeb3a92" providerId="ADAL" clId="{78668647-0E4E-4D51-9C0E-13926B4FF229}" dt="2023-07-13T15:00:22.481" v="5187"/>
          <ac:spMkLst>
            <pc:docMk/>
            <pc:sldMk cId="667833205" sldId="459"/>
            <ac:spMk id="40" creationId="{CB2C9B9E-4664-DA04-3408-FB8158F0E3A1}"/>
          </ac:spMkLst>
        </pc:spChg>
        <pc:spChg chg="add mod replST">
          <ac:chgData name="Brito Cortés, Sofía Constanza" userId="bc780694-5ad3-4b43-9d08-68ceeeeb3a92" providerId="ADAL" clId="{78668647-0E4E-4D51-9C0E-13926B4FF229}" dt="2023-07-13T15:00:22.677" v="5305" actId="948"/>
          <ac:spMkLst>
            <pc:docMk/>
            <pc:sldMk cId="667833205" sldId="459"/>
            <ac:spMk id="41" creationId="{30B729CC-3B6C-76E8-B9F2-6D290DE663C6}"/>
          </ac:spMkLst>
        </pc:spChg>
        <pc:spChg chg="add mod replST">
          <ac:chgData name="Brito Cortés, Sofía Constanza" userId="bc780694-5ad3-4b43-9d08-68ceeeeb3a92" providerId="ADAL" clId="{78668647-0E4E-4D51-9C0E-13926B4FF229}" dt="2023-07-13T15:00:22.605" v="5246"/>
          <ac:spMkLst>
            <pc:docMk/>
            <pc:sldMk cId="667833205" sldId="459"/>
            <ac:spMk id="42" creationId="{274E3E42-5123-6B34-B0AC-EDEA2D127D1A}"/>
          </ac:spMkLst>
        </pc:spChg>
        <pc:spChg chg="add mod replST">
          <ac:chgData name="Brito Cortés, Sofía Constanza" userId="bc780694-5ad3-4b43-9d08-68ceeeeb3a92" providerId="ADAL" clId="{78668647-0E4E-4D51-9C0E-13926B4FF229}" dt="2023-07-13T15:00:22.675" v="5303" actId="948"/>
          <ac:spMkLst>
            <pc:docMk/>
            <pc:sldMk cId="667833205" sldId="459"/>
            <ac:spMk id="43" creationId="{156A84EA-1C0C-291F-0AC0-A00D9D6A4453}"/>
          </ac:spMkLst>
        </pc:spChg>
        <pc:spChg chg="add mod replST">
          <ac:chgData name="Brito Cortés, Sofía Constanza" userId="bc780694-5ad3-4b43-9d08-68ceeeeb3a92" providerId="ADAL" clId="{78668647-0E4E-4D51-9C0E-13926B4FF229}" dt="2023-07-13T15:00:22.609" v="5249"/>
          <ac:spMkLst>
            <pc:docMk/>
            <pc:sldMk cId="667833205" sldId="459"/>
            <ac:spMk id="44" creationId="{366DC784-F481-4388-5CC9-4AF3F2CAADA5}"/>
          </ac:spMkLst>
        </pc:spChg>
        <pc:spChg chg="add mod replST">
          <ac:chgData name="Brito Cortés, Sofía Constanza" userId="bc780694-5ad3-4b43-9d08-68ceeeeb3a92" providerId="ADAL" clId="{78668647-0E4E-4D51-9C0E-13926B4FF229}" dt="2023-07-13T15:00:22.607" v="5248"/>
          <ac:spMkLst>
            <pc:docMk/>
            <pc:sldMk cId="667833205" sldId="459"/>
            <ac:spMk id="45" creationId="{3AEA117D-633C-3A66-C4BF-F295C66D6BE5}"/>
          </ac:spMkLst>
        </pc:spChg>
        <pc:spChg chg="add mod replST">
          <ac:chgData name="Brito Cortés, Sofía Constanza" userId="bc780694-5ad3-4b43-9d08-68ceeeeb3a92" providerId="ADAL" clId="{78668647-0E4E-4D51-9C0E-13926B4FF229}" dt="2023-07-13T15:00:22.610" v="5250"/>
          <ac:spMkLst>
            <pc:docMk/>
            <pc:sldMk cId="667833205" sldId="459"/>
            <ac:spMk id="46" creationId="{8D87EEBC-C628-933C-01A1-AF0C4A07C51C}"/>
          </ac:spMkLst>
        </pc:spChg>
        <pc:spChg chg="add mod replST">
          <ac:chgData name="Brito Cortés, Sofía Constanza" userId="bc780694-5ad3-4b43-9d08-68ceeeeb3a92" providerId="ADAL" clId="{78668647-0E4E-4D51-9C0E-13926B4FF229}" dt="2023-07-13T15:00:22.603" v="5245"/>
          <ac:spMkLst>
            <pc:docMk/>
            <pc:sldMk cId="667833205" sldId="459"/>
            <ac:spMk id="47" creationId="{A37E014F-0BBB-265D-C044-591B3CC924BB}"/>
          </ac:spMkLst>
        </pc:spChg>
        <pc:spChg chg="add mod replST">
          <ac:chgData name="Brito Cortés, Sofía Constanza" userId="bc780694-5ad3-4b43-9d08-68ceeeeb3a92" providerId="ADAL" clId="{78668647-0E4E-4D51-9C0E-13926B4FF229}" dt="2023-07-13T15:00:22.680" v="5307" actId="948"/>
          <ac:spMkLst>
            <pc:docMk/>
            <pc:sldMk cId="667833205" sldId="459"/>
            <ac:spMk id="48" creationId="{CD766343-FEF9-62DA-E613-FF39D5F55DF3}"/>
          </ac:spMkLst>
        </pc:spChg>
        <pc:spChg chg="add mod replST">
          <ac:chgData name="Brito Cortés, Sofía Constanza" userId="bc780694-5ad3-4b43-9d08-68ceeeeb3a92" providerId="ADAL" clId="{78668647-0E4E-4D51-9C0E-13926B4FF229}" dt="2023-07-13T15:00:22.611" v="5251"/>
          <ac:spMkLst>
            <pc:docMk/>
            <pc:sldMk cId="667833205" sldId="459"/>
            <ac:spMk id="49" creationId="{8CCF9343-BC87-0258-125C-E7561D9DEE5C}"/>
          </ac:spMkLst>
        </pc:spChg>
        <pc:spChg chg="add mod replST">
          <ac:chgData name="Brito Cortés, Sofía Constanza" userId="bc780694-5ad3-4b43-9d08-68ceeeeb3a92" providerId="ADAL" clId="{78668647-0E4E-4D51-9C0E-13926B4FF229}" dt="2023-07-13T15:00:22.606" v="5247"/>
          <ac:spMkLst>
            <pc:docMk/>
            <pc:sldMk cId="667833205" sldId="459"/>
            <ac:spMk id="50" creationId="{DFF1BFD7-65EA-C807-2045-F243E52D4F17}"/>
          </ac:spMkLst>
        </pc:spChg>
        <pc:spChg chg="add mod replST">
          <ac:chgData name="Brito Cortés, Sofía Constanza" userId="bc780694-5ad3-4b43-9d08-68ceeeeb3a92" providerId="ADAL" clId="{78668647-0E4E-4D51-9C0E-13926B4FF229}" dt="2023-07-13T15:00:22.674" v="5302" actId="948"/>
          <ac:spMkLst>
            <pc:docMk/>
            <pc:sldMk cId="667833205" sldId="459"/>
            <ac:spMk id="51" creationId="{3D848D6D-8105-2FF3-E6DF-EBCBE901E0E8}"/>
          </ac:spMkLst>
        </pc:spChg>
        <pc:spChg chg="add mod replST">
          <ac:chgData name="Brito Cortés, Sofía Constanza" userId="bc780694-5ad3-4b43-9d08-68ceeeeb3a92" providerId="ADAL" clId="{78668647-0E4E-4D51-9C0E-13926B4FF229}" dt="2023-07-13T15:00:22.679" v="5306" actId="948"/>
          <ac:spMkLst>
            <pc:docMk/>
            <pc:sldMk cId="667833205" sldId="459"/>
            <ac:spMk id="52" creationId="{74A610E6-2F48-EF91-1FB0-8424198F7C60}"/>
          </ac:spMkLst>
        </pc:spChg>
        <pc:spChg chg="add mod replST">
          <ac:chgData name="Brito Cortés, Sofía Constanza" userId="bc780694-5ad3-4b43-9d08-68ceeeeb3a92" providerId="ADAL" clId="{78668647-0E4E-4D51-9C0E-13926B4FF229}" dt="2023-07-13T15:00:22.676" v="5304" actId="948"/>
          <ac:spMkLst>
            <pc:docMk/>
            <pc:sldMk cId="667833205" sldId="459"/>
            <ac:spMk id="53" creationId="{6F3C6199-6CEF-1EA8-71A5-890578BD4512}"/>
          </ac:spMkLst>
        </pc:spChg>
        <pc:spChg chg="add mod replST">
          <ac:chgData name="Brito Cortés, Sofía Constanza" userId="bc780694-5ad3-4b43-9d08-68ceeeeb3a92" providerId="ADAL" clId="{78668647-0E4E-4D51-9C0E-13926B4FF229}" dt="2023-07-13T15:00:22.673" v="5301" actId="948"/>
          <ac:spMkLst>
            <pc:docMk/>
            <pc:sldMk cId="667833205" sldId="459"/>
            <ac:spMk id="54" creationId="{105DACB6-6A95-D304-722F-16F32897AE7F}"/>
          </ac:spMkLst>
        </pc:spChg>
        <pc:spChg chg="add mod replST">
          <ac:chgData name="Brito Cortés, Sofía Constanza" userId="bc780694-5ad3-4b43-9d08-68ceeeeb3a92" providerId="ADAL" clId="{78668647-0E4E-4D51-9C0E-13926B4FF229}" dt="2023-07-13T15:00:22.682" v="5308" actId="948"/>
          <ac:spMkLst>
            <pc:docMk/>
            <pc:sldMk cId="667833205" sldId="459"/>
            <ac:spMk id="55" creationId="{2B60AC59-0734-4252-7CF8-92206793DBE8}"/>
          </ac:spMkLst>
        </pc:spChg>
        <pc:spChg chg="add del mod modVis">
          <ac:chgData name="Brito Cortés, Sofía Constanza" userId="bc780694-5ad3-4b43-9d08-68ceeeeb3a92" providerId="ADAL" clId="{78668647-0E4E-4D51-9C0E-13926B4FF229}" dt="2023-07-13T15:00:22.699" v="5314"/>
          <ac:spMkLst>
            <pc:docMk/>
            <pc:sldMk cId="667833205" sldId="459"/>
            <ac:spMk id="56" creationId="{F9B68233-E322-8B90-78B0-DDA118AC5362}"/>
          </ac:spMkLst>
        </pc:spChg>
        <pc:spChg chg="add del mod">
          <ac:chgData name="Brito Cortés, Sofía Constanza" userId="bc780694-5ad3-4b43-9d08-68ceeeeb3a92" providerId="ADAL" clId="{78668647-0E4E-4D51-9C0E-13926B4FF229}" dt="2023-07-13T15:00:52.652" v="5372" actId="478"/>
          <ac:spMkLst>
            <pc:docMk/>
            <pc:sldMk cId="667833205" sldId="459"/>
            <ac:spMk id="57" creationId="{AB216005-7E20-21F2-E15B-25D3B51ECB18}"/>
          </ac:spMkLst>
        </pc:spChg>
        <pc:graphicFrameChg chg="mod">
          <ac:chgData name="Brito Cortés, Sofía Constanza" userId="bc780694-5ad3-4b43-9d08-68ceeeeb3a92" providerId="ADAL" clId="{78668647-0E4E-4D51-9C0E-13926B4FF229}" dt="2023-07-13T15:00:22.703" v="5316"/>
          <ac:graphicFrameMkLst>
            <pc:docMk/>
            <pc:sldMk cId="667833205" sldId="459"/>
            <ac:graphicFrameMk id="4" creationId="{97AD468B-D6B0-16E5-4AC1-379B1ACC973D}"/>
          </ac:graphicFrameMkLst>
        </pc:graphicFrameChg>
        <pc:cxnChg chg="add mod replST">
          <ac:chgData name="Brito Cortés, Sofía Constanza" userId="bc780694-5ad3-4b43-9d08-68ceeeeb3a92" providerId="ADAL" clId="{78668647-0E4E-4D51-9C0E-13926B4FF229}" dt="2023-07-13T15:00:22.485" v="5193"/>
          <ac:cxnSpMkLst>
            <pc:docMk/>
            <pc:sldMk cId="667833205" sldId="459"/>
            <ac:cxnSpMk id="17" creationId="{4249D4E4-E892-9617-46B7-4D7A42EED291}"/>
          </ac:cxnSpMkLst>
        </pc:cxnChg>
        <pc:cxnChg chg="add mod replST">
          <ac:chgData name="Brito Cortés, Sofía Constanza" userId="bc780694-5ad3-4b43-9d08-68ceeeeb3a92" providerId="ADAL" clId="{78668647-0E4E-4D51-9C0E-13926B4FF229}" dt="2023-07-13T15:00:22.485" v="5192"/>
          <ac:cxnSpMkLst>
            <pc:docMk/>
            <pc:sldMk cId="667833205" sldId="459"/>
            <ac:cxnSpMk id="18" creationId="{89FDFF7C-FDD1-5A20-D8B9-C002C769B099}"/>
          </ac:cxnSpMkLst>
        </pc:cxnChg>
        <pc:cxnChg chg="add mod replST">
          <ac:chgData name="Brito Cortés, Sofía Constanza" userId="bc780694-5ad3-4b43-9d08-68ceeeeb3a92" providerId="ADAL" clId="{78668647-0E4E-4D51-9C0E-13926B4FF229}" dt="2023-07-13T15:00:22.486" v="5194"/>
          <ac:cxnSpMkLst>
            <pc:docMk/>
            <pc:sldMk cId="667833205" sldId="459"/>
            <ac:cxnSpMk id="19" creationId="{4B70D983-845D-90CD-2F45-A8DD6DBE1E24}"/>
          </ac:cxnSpMkLst>
        </pc:cxnChg>
        <pc:cxnChg chg="add mod replST">
          <ac:chgData name="Brito Cortés, Sofía Constanza" userId="bc780694-5ad3-4b43-9d08-68ceeeeb3a92" providerId="ADAL" clId="{78668647-0E4E-4D51-9C0E-13926B4FF229}" dt="2023-07-13T15:00:22.488" v="5199"/>
          <ac:cxnSpMkLst>
            <pc:docMk/>
            <pc:sldMk cId="667833205" sldId="459"/>
            <ac:cxnSpMk id="20" creationId="{DFE7223B-CC01-6C21-62E0-506D4A2D45BF}"/>
          </ac:cxnSpMkLst>
        </pc:cxnChg>
        <pc:cxnChg chg="add mod replST">
          <ac:chgData name="Brito Cortés, Sofía Constanza" userId="bc780694-5ad3-4b43-9d08-68ceeeeb3a92" providerId="ADAL" clId="{78668647-0E4E-4D51-9C0E-13926B4FF229}" dt="2023-07-13T15:00:22.486" v="5195"/>
          <ac:cxnSpMkLst>
            <pc:docMk/>
            <pc:sldMk cId="667833205" sldId="459"/>
            <ac:cxnSpMk id="21" creationId="{B89D5DDC-0B9C-D182-00CB-F56D29385A00}"/>
          </ac:cxnSpMkLst>
        </pc:cxnChg>
        <pc:cxnChg chg="add mod replST">
          <ac:chgData name="Brito Cortés, Sofía Constanza" userId="bc780694-5ad3-4b43-9d08-68ceeeeb3a92" providerId="ADAL" clId="{78668647-0E4E-4D51-9C0E-13926B4FF229}" dt="2023-07-13T15:00:22.487" v="5197"/>
          <ac:cxnSpMkLst>
            <pc:docMk/>
            <pc:sldMk cId="667833205" sldId="459"/>
            <ac:cxnSpMk id="22" creationId="{189B1367-0725-71F2-CE0A-B3303F28EB98}"/>
          </ac:cxnSpMkLst>
        </pc:cxnChg>
        <pc:cxnChg chg="add mod replST">
          <ac:chgData name="Brito Cortés, Sofía Constanza" userId="bc780694-5ad3-4b43-9d08-68ceeeeb3a92" providerId="ADAL" clId="{78668647-0E4E-4D51-9C0E-13926B4FF229}" dt="2023-07-13T15:00:22.488" v="5200"/>
          <ac:cxnSpMkLst>
            <pc:docMk/>
            <pc:sldMk cId="667833205" sldId="459"/>
            <ac:cxnSpMk id="23" creationId="{1108F18C-1543-2149-F275-F8E00CDA4C14}"/>
          </ac:cxnSpMkLst>
        </pc:cxnChg>
        <pc:cxnChg chg="add mod replST">
          <ac:chgData name="Brito Cortés, Sofía Constanza" userId="bc780694-5ad3-4b43-9d08-68ceeeeb3a92" providerId="ADAL" clId="{78668647-0E4E-4D51-9C0E-13926B4FF229}" dt="2023-07-13T15:00:22.470" v="5168"/>
          <ac:cxnSpMkLst>
            <pc:docMk/>
            <pc:sldMk cId="667833205" sldId="459"/>
            <ac:cxnSpMk id="24" creationId="{329F7A4A-EE5A-B1B4-86EA-26C5A308B724}"/>
          </ac:cxnSpMkLst>
        </pc:cxnChg>
        <pc:cxnChg chg="add mod replST">
          <ac:chgData name="Brito Cortés, Sofía Constanza" userId="bc780694-5ad3-4b43-9d08-68ceeeeb3a92" providerId="ADAL" clId="{78668647-0E4E-4D51-9C0E-13926B4FF229}" dt="2023-07-13T15:00:22.487" v="5198"/>
          <ac:cxnSpMkLst>
            <pc:docMk/>
            <pc:sldMk cId="667833205" sldId="459"/>
            <ac:cxnSpMk id="25" creationId="{AC6C15CA-7765-6E5D-28EA-450E6183D05C}"/>
          </ac:cxnSpMkLst>
        </pc:cxnChg>
        <pc:cxnChg chg="add mod replST">
          <ac:chgData name="Brito Cortés, Sofía Constanza" userId="bc780694-5ad3-4b43-9d08-68ceeeeb3a92" providerId="ADAL" clId="{78668647-0E4E-4D51-9C0E-13926B4FF229}" dt="2023-07-13T15:00:22.486" v="5196"/>
          <ac:cxnSpMkLst>
            <pc:docMk/>
            <pc:sldMk cId="667833205" sldId="459"/>
            <ac:cxnSpMk id="26" creationId="{4CE9DB7E-D55F-8832-3D63-7E63D1653DA8}"/>
          </ac:cxnSpMkLst>
        </pc:cxnChg>
      </pc:sldChg>
      <pc:sldChg chg="addSp delSp modSp mod">
        <pc:chgData name="Brito Cortés, Sofía Constanza" userId="bc780694-5ad3-4b43-9d08-68ceeeeb3a92" providerId="ADAL" clId="{78668647-0E4E-4D51-9C0E-13926B4FF229}" dt="2023-07-13T14:58:09.449" v="5085" actId="478"/>
        <pc:sldMkLst>
          <pc:docMk/>
          <pc:sldMk cId="2049217080" sldId="477"/>
        </pc:sldMkLst>
        <pc:spChg chg="mod">
          <ac:chgData name="Brito Cortés, Sofía Constanza" userId="bc780694-5ad3-4b43-9d08-68ceeeeb3a92" providerId="ADAL" clId="{78668647-0E4E-4D51-9C0E-13926B4FF229}" dt="2023-07-13T14:57:56.957" v="5083" actId="14100"/>
          <ac:spMkLst>
            <pc:docMk/>
            <pc:sldMk cId="2049217080" sldId="477"/>
            <ac:spMk id="3" creationId="{00000000-0000-0000-0000-000000000000}"/>
          </ac:spMkLst>
        </pc:spChg>
        <pc:spChg chg="add del mod">
          <ac:chgData name="Brito Cortés, Sofía Constanza" userId="bc780694-5ad3-4b43-9d08-68ceeeeb3a92" providerId="ADAL" clId="{78668647-0E4E-4D51-9C0E-13926B4FF229}" dt="2023-07-13T14:58:09.449" v="5085" actId="478"/>
          <ac:spMkLst>
            <pc:docMk/>
            <pc:sldMk cId="2049217080" sldId="477"/>
            <ac:spMk id="4" creationId="{23C3A626-0916-B1B7-1E06-DA90AD79B57D}"/>
          </ac:spMkLst>
        </pc:spChg>
        <pc:spChg chg="mod">
          <ac:chgData name="Brito Cortés, Sofía Constanza" userId="bc780694-5ad3-4b43-9d08-68ceeeeb3a92" providerId="ADAL" clId="{78668647-0E4E-4D51-9C0E-13926B4FF229}" dt="2023-07-13T14:58:02.195" v="5084" actId="14100"/>
          <ac:spMkLst>
            <pc:docMk/>
            <pc:sldMk cId="2049217080" sldId="477"/>
            <ac:spMk id="5" creationId="{FD28D9B7-6B26-40CD-535E-6FCA0C7A40C7}"/>
          </ac:spMkLst>
        </pc:spChg>
      </pc:sldChg>
      <pc:sldChg chg="addSp delSp modSp mod">
        <pc:chgData name="Brito Cortés, Sofía Constanza" userId="bc780694-5ad3-4b43-9d08-68ceeeeb3a92" providerId="ADAL" clId="{78668647-0E4E-4D51-9C0E-13926B4FF229}" dt="2023-07-13T15:48:33.146" v="5556" actId="478"/>
        <pc:sldMkLst>
          <pc:docMk/>
          <pc:sldMk cId="3263830898" sldId="484"/>
        </pc:sldMkLst>
        <pc:spChg chg="mod">
          <ac:chgData name="Brito Cortés, Sofía Constanza" userId="bc780694-5ad3-4b43-9d08-68ceeeeb3a92" providerId="ADAL" clId="{78668647-0E4E-4D51-9C0E-13926B4FF229}" dt="2023-07-13T14:57:31.479" v="5080" actId="14100"/>
          <ac:spMkLst>
            <pc:docMk/>
            <pc:sldMk cId="3263830898" sldId="484"/>
            <ac:spMk id="3" creationId="{00000000-0000-0000-0000-000000000000}"/>
          </ac:spMkLst>
        </pc:spChg>
        <pc:spChg chg="add del mod">
          <ac:chgData name="Brito Cortés, Sofía Constanza" userId="bc780694-5ad3-4b43-9d08-68ceeeeb3a92" providerId="ADAL" clId="{78668647-0E4E-4D51-9C0E-13926B4FF229}" dt="2023-07-13T15:43:37.021" v="5551"/>
          <ac:spMkLst>
            <pc:docMk/>
            <pc:sldMk cId="3263830898" sldId="484"/>
            <ac:spMk id="4" creationId="{E86609B8-CD94-4545-E567-FE0CF9B89D2F}"/>
          </ac:spMkLst>
        </pc:spChg>
        <pc:spChg chg="mod">
          <ac:chgData name="Brito Cortés, Sofía Constanza" userId="bc780694-5ad3-4b43-9d08-68ceeeeb3a92" providerId="ADAL" clId="{78668647-0E4E-4D51-9C0E-13926B4FF229}" dt="2023-07-13T14:57:22.631" v="5079" actId="14100"/>
          <ac:spMkLst>
            <pc:docMk/>
            <pc:sldMk cId="3263830898" sldId="484"/>
            <ac:spMk id="20" creationId="{3B0DFADB-6FF9-891F-AB8B-165A9857B5F8}"/>
          </ac:spMkLst>
        </pc:spChg>
        <pc:spChg chg="add del mod">
          <ac:chgData name="Brito Cortés, Sofía Constanza" userId="bc780694-5ad3-4b43-9d08-68ceeeeb3a92" providerId="ADAL" clId="{78668647-0E4E-4D51-9C0E-13926B4FF229}" dt="2023-07-13T15:48:33.146" v="5556" actId="478"/>
          <ac:spMkLst>
            <pc:docMk/>
            <pc:sldMk cId="3263830898" sldId="484"/>
            <ac:spMk id="21" creationId="{95C4B582-A0B7-AE8B-2ACA-E553C26639E3}"/>
          </ac:spMkLst>
        </pc:spChg>
      </pc:sldChg>
      <pc:sldChg chg="addSp delSp modSp mod">
        <pc:chgData name="Brito Cortés, Sofía Constanza" userId="bc780694-5ad3-4b43-9d08-68ceeeeb3a92" providerId="ADAL" clId="{78668647-0E4E-4D51-9C0E-13926B4FF229}" dt="2023-07-13T15:40:52.042" v="5456" actId="478"/>
        <pc:sldMkLst>
          <pc:docMk/>
          <pc:sldMk cId="2761900561" sldId="504"/>
        </pc:sldMkLst>
        <pc:spChg chg="mod">
          <ac:chgData name="Brito Cortés, Sofía Constanza" userId="bc780694-5ad3-4b43-9d08-68ceeeeb3a92" providerId="ADAL" clId="{78668647-0E4E-4D51-9C0E-13926B4FF229}" dt="2023-07-13T15:31:14.575" v="5431" actId="14100"/>
          <ac:spMkLst>
            <pc:docMk/>
            <pc:sldMk cId="2761900561" sldId="504"/>
            <ac:spMk id="3" creationId="{00000000-0000-0000-0000-000000000000}"/>
          </ac:spMkLst>
        </pc:spChg>
        <pc:spChg chg="add del mod">
          <ac:chgData name="Brito Cortés, Sofía Constanza" userId="bc780694-5ad3-4b43-9d08-68ceeeeb3a92" providerId="ADAL" clId="{78668647-0E4E-4D51-9C0E-13926B4FF229}" dt="2023-07-13T15:31:17.683" v="5432" actId="478"/>
          <ac:spMkLst>
            <pc:docMk/>
            <pc:sldMk cId="2761900561" sldId="504"/>
            <ac:spMk id="4" creationId="{34E7A536-A9BE-968D-C24E-8623D085316B}"/>
          </ac:spMkLst>
        </pc:spChg>
        <pc:spChg chg="add del mod">
          <ac:chgData name="Brito Cortés, Sofía Constanza" userId="bc780694-5ad3-4b43-9d08-68ceeeeb3a92" providerId="ADAL" clId="{78668647-0E4E-4D51-9C0E-13926B4FF229}" dt="2023-07-13T15:40:52.042" v="5456" actId="478"/>
          <ac:spMkLst>
            <pc:docMk/>
            <pc:sldMk cId="2761900561" sldId="504"/>
            <ac:spMk id="13" creationId="{B9799D37-9717-2023-7F52-3B1DA999A6D7}"/>
          </ac:spMkLst>
        </pc:spChg>
      </pc:sldChg>
      <pc:sldChg chg="addSp delSp modSp mod">
        <pc:chgData name="Brito Cortés, Sofía Constanza" userId="bc780694-5ad3-4b43-9d08-68ceeeeb3a92" providerId="ADAL" clId="{78668647-0E4E-4D51-9C0E-13926B4FF229}" dt="2023-07-13T15:42:35.197" v="5527" actId="14100"/>
        <pc:sldMkLst>
          <pc:docMk/>
          <pc:sldMk cId="1286888167" sldId="537"/>
        </pc:sldMkLst>
        <pc:spChg chg="add del mod">
          <ac:chgData name="Brito Cortés, Sofía Constanza" userId="bc780694-5ad3-4b43-9d08-68ceeeeb3a92" providerId="ADAL" clId="{78668647-0E4E-4D51-9C0E-13926B4FF229}" dt="2023-07-13T15:42:29.351" v="5526" actId="478"/>
          <ac:spMkLst>
            <pc:docMk/>
            <pc:sldMk cId="1286888167" sldId="537"/>
            <ac:spMk id="3" creationId="{90C3E554-CD66-30F8-5A68-6585979EAD93}"/>
          </ac:spMkLst>
        </pc:spChg>
        <pc:spChg chg="mod">
          <ac:chgData name="Brito Cortés, Sofía Constanza" userId="bc780694-5ad3-4b43-9d08-68ceeeeb3a92" providerId="ADAL" clId="{78668647-0E4E-4D51-9C0E-13926B4FF229}" dt="2023-07-13T15:42:35.197" v="5527" actId="14100"/>
          <ac:spMkLst>
            <pc:docMk/>
            <pc:sldMk cId="1286888167" sldId="537"/>
            <ac:spMk id="4" creationId="{CABA5365-DCE8-0064-50B8-66B64BA9DA7B}"/>
          </ac:spMkLst>
        </pc:spChg>
        <pc:spChg chg="mod">
          <ac:chgData name="Brito Cortés, Sofía Constanza" userId="bc780694-5ad3-4b43-9d08-68ceeeeb3a92" providerId="ADAL" clId="{78668647-0E4E-4D51-9C0E-13926B4FF229}" dt="2023-07-13T15:42:21.472" v="5525" actId="14100"/>
          <ac:spMkLst>
            <pc:docMk/>
            <pc:sldMk cId="1286888167" sldId="537"/>
            <ac:spMk id="107" creationId="{00000000-0000-0000-0000-000000000000}"/>
          </ac:spMkLst>
        </pc:spChg>
      </pc:sldChg>
      <pc:sldChg chg="addSp delSp modSp mod">
        <pc:chgData name="Brito Cortés, Sofía Constanza" userId="bc780694-5ad3-4b43-9d08-68ceeeeb3a92" providerId="ADAL" clId="{78668647-0E4E-4D51-9C0E-13926B4FF229}" dt="2023-07-13T15:42:54.605" v="5548" actId="478"/>
        <pc:sldMkLst>
          <pc:docMk/>
          <pc:sldMk cId="822483613" sldId="538"/>
        </pc:sldMkLst>
        <pc:spChg chg="mod ord">
          <ac:chgData name="Brito Cortés, Sofía Constanza" userId="bc780694-5ad3-4b43-9d08-68ceeeeb3a92" providerId="ADAL" clId="{78668647-0E4E-4D51-9C0E-13926B4FF229}" dt="2023-07-13T14:49:02.398" v="5021"/>
          <ac:spMkLst>
            <pc:docMk/>
            <pc:sldMk cId="822483613" sldId="538"/>
            <ac:spMk id="2" creationId="{00000000-0000-0000-0000-000000000000}"/>
          </ac:spMkLst>
        </pc:spChg>
        <pc:spChg chg="mod ord">
          <ac:chgData name="Brito Cortés, Sofía Constanza" userId="bc780694-5ad3-4b43-9d08-68ceeeeb3a92" providerId="ADAL" clId="{78668647-0E4E-4D51-9C0E-13926B4FF229}" dt="2023-07-13T15:42:51.243" v="5547" actId="14100"/>
          <ac:spMkLst>
            <pc:docMk/>
            <pc:sldMk cId="822483613" sldId="538"/>
            <ac:spMk id="3" creationId="{00000000-0000-0000-0000-000000000000}"/>
          </ac:spMkLst>
        </pc:spChg>
        <pc:spChg chg="add del mod replST">
          <ac:chgData name="Brito Cortés, Sofía Constanza" userId="bc780694-5ad3-4b43-9d08-68ceeeeb3a92" providerId="ADAL" clId="{78668647-0E4E-4D51-9C0E-13926B4FF229}" dt="2023-07-13T14:36:07.328" v="1475"/>
          <ac:spMkLst>
            <pc:docMk/>
            <pc:sldMk cId="822483613" sldId="538"/>
            <ac:spMk id="4" creationId="{8EBDBA09-EDD8-FFE9-5AB1-157BBCC9C430}"/>
          </ac:spMkLst>
        </pc:spChg>
        <pc:spChg chg="add del mod replST">
          <ac:chgData name="Brito Cortés, Sofía Constanza" userId="bc780694-5ad3-4b43-9d08-68ceeeeb3a92" providerId="ADAL" clId="{78668647-0E4E-4D51-9C0E-13926B4FF229}" dt="2023-07-13T14:36:07.389" v="1537"/>
          <ac:spMkLst>
            <pc:docMk/>
            <pc:sldMk cId="822483613" sldId="538"/>
            <ac:spMk id="5" creationId="{8EBDBA09-EDD8-FFE9-5AB1-157BBCC9C430}"/>
          </ac:spMkLst>
        </pc:spChg>
        <pc:spChg chg="mod ord">
          <ac:chgData name="Brito Cortés, Sofía Constanza" userId="bc780694-5ad3-4b43-9d08-68ceeeeb3a92" providerId="ADAL" clId="{78668647-0E4E-4D51-9C0E-13926B4FF229}" dt="2023-07-13T14:49:02.397" v="5019"/>
          <ac:spMkLst>
            <pc:docMk/>
            <pc:sldMk cId="822483613" sldId="538"/>
            <ac:spMk id="6" creationId="{31682B9A-6B46-5E2E-2587-48EE870FEDD8}"/>
          </ac:spMkLst>
        </pc:spChg>
        <pc:spChg chg="add del mod replST">
          <ac:chgData name="Brito Cortés, Sofía Constanza" userId="bc780694-5ad3-4b43-9d08-68ceeeeb3a92" providerId="ADAL" clId="{78668647-0E4E-4D51-9C0E-13926B4FF229}" dt="2023-07-13T14:36:07.452" v="1596"/>
          <ac:spMkLst>
            <pc:docMk/>
            <pc:sldMk cId="822483613" sldId="538"/>
            <ac:spMk id="7" creationId="{8EBDBA09-EDD8-FFE9-5AB1-157BBCC9C430}"/>
          </ac:spMkLst>
        </pc:spChg>
        <pc:spChg chg="add del mod replST">
          <ac:chgData name="Brito Cortés, Sofía Constanza" userId="bc780694-5ad3-4b43-9d08-68ceeeeb3a92" providerId="ADAL" clId="{78668647-0E4E-4D51-9C0E-13926B4FF229}" dt="2023-07-13T14:36:07.519" v="1658"/>
          <ac:spMkLst>
            <pc:docMk/>
            <pc:sldMk cId="822483613" sldId="538"/>
            <ac:spMk id="8" creationId="{8EBDBA09-EDD8-FFE9-5AB1-157BBCC9C430}"/>
          </ac:spMkLst>
        </pc:spChg>
        <pc:spChg chg="add del mod replST">
          <ac:chgData name="Brito Cortés, Sofía Constanza" userId="bc780694-5ad3-4b43-9d08-68ceeeeb3a92" providerId="ADAL" clId="{78668647-0E4E-4D51-9C0E-13926B4FF229}" dt="2023-07-13T14:36:07.586" v="1717"/>
          <ac:spMkLst>
            <pc:docMk/>
            <pc:sldMk cId="822483613" sldId="538"/>
            <ac:spMk id="9" creationId="{8EBDBA09-EDD8-FFE9-5AB1-157BBCC9C430}"/>
          </ac:spMkLst>
        </pc:spChg>
        <pc:spChg chg="add del mod replST">
          <ac:chgData name="Brito Cortés, Sofía Constanza" userId="bc780694-5ad3-4b43-9d08-68ceeeeb3a92" providerId="ADAL" clId="{78668647-0E4E-4D51-9C0E-13926B4FF229}" dt="2023-07-13T14:36:07.658" v="1779"/>
          <ac:spMkLst>
            <pc:docMk/>
            <pc:sldMk cId="822483613" sldId="538"/>
            <ac:spMk id="10" creationId="{8EBDBA09-EDD8-FFE9-5AB1-157BBCC9C430}"/>
          </ac:spMkLst>
        </pc:spChg>
        <pc:spChg chg="mod">
          <ac:chgData name="Brito Cortés, Sofía Constanza" userId="bc780694-5ad3-4b43-9d08-68ceeeeb3a92" providerId="ADAL" clId="{78668647-0E4E-4D51-9C0E-13926B4FF229}" dt="2023-07-13T14:49:02.405" v="5042"/>
          <ac:spMkLst>
            <pc:docMk/>
            <pc:sldMk cId="822483613" sldId="538"/>
            <ac:spMk id="11" creationId="{00000000-0000-0000-0000-000000000000}"/>
          </ac:spMkLst>
        </pc:spChg>
        <pc:spChg chg="mod">
          <ac:chgData name="Brito Cortés, Sofía Constanza" userId="bc780694-5ad3-4b43-9d08-68ceeeeb3a92" providerId="ADAL" clId="{78668647-0E4E-4D51-9C0E-13926B4FF229}" dt="2023-07-13T14:49:02.406" v="5043"/>
          <ac:spMkLst>
            <pc:docMk/>
            <pc:sldMk cId="822483613" sldId="538"/>
            <ac:spMk id="12" creationId="{00000000-0000-0000-0000-000000000000}"/>
          </ac:spMkLst>
        </pc:spChg>
        <pc:spChg chg="mod">
          <ac:chgData name="Brito Cortés, Sofía Constanza" userId="bc780694-5ad3-4b43-9d08-68ceeeeb3a92" providerId="ADAL" clId="{78668647-0E4E-4D51-9C0E-13926B4FF229}" dt="2023-07-13T14:49:02.407" v="5044"/>
          <ac:spMkLst>
            <pc:docMk/>
            <pc:sldMk cId="822483613" sldId="538"/>
            <ac:spMk id="13" creationId="{00000000-0000-0000-0000-000000000000}"/>
          </ac:spMkLst>
        </pc:spChg>
        <pc:spChg chg="add del mod replST">
          <ac:chgData name="Brito Cortés, Sofía Constanza" userId="bc780694-5ad3-4b43-9d08-68ceeeeb3a92" providerId="ADAL" clId="{78668647-0E4E-4D51-9C0E-13926B4FF229}" dt="2023-07-13T14:36:07.731" v="1838"/>
          <ac:spMkLst>
            <pc:docMk/>
            <pc:sldMk cId="822483613" sldId="538"/>
            <ac:spMk id="14" creationId="{8EBDBA09-EDD8-FFE9-5AB1-157BBCC9C430}"/>
          </ac:spMkLst>
        </pc:spChg>
        <pc:spChg chg="add del mod replST">
          <ac:chgData name="Brito Cortés, Sofía Constanza" userId="bc780694-5ad3-4b43-9d08-68ceeeeb3a92" providerId="ADAL" clId="{78668647-0E4E-4D51-9C0E-13926B4FF229}" dt="2023-07-13T14:36:07.804" v="1900"/>
          <ac:spMkLst>
            <pc:docMk/>
            <pc:sldMk cId="822483613" sldId="538"/>
            <ac:spMk id="15" creationId="{8EBDBA09-EDD8-FFE9-5AB1-157BBCC9C430}"/>
          </ac:spMkLst>
        </pc:spChg>
        <pc:spChg chg="add del mod replST">
          <ac:chgData name="Brito Cortés, Sofía Constanza" userId="bc780694-5ad3-4b43-9d08-68ceeeeb3a92" providerId="ADAL" clId="{78668647-0E4E-4D51-9C0E-13926B4FF229}" dt="2023-07-13T14:36:07.955" v="2043"/>
          <ac:spMkLst>
            <pc:docMk/>
            <pc:sldMk cId="822483613" sldId="538"/>
            <ac:spMk id="17" creationId="{8EBDBA09-EDD8-FFE9-5AB1-157BBCC9C430}"/>
          </ac:spMkLst>
        </pc:spChg>
        <pc:spChg chg="add del mod replST">
          <ac:chgData name="Brito Cortés, Sofía Constanza" userId="bc780694-5ad3-4b43-9d08-68ceeeeb3a92" providerId="ADAL" clId="{78668647-0E4E-4D51-9C0E-13926B4FF229}" dt="2023-07-13T14:36:08.036" v="2105"/>
          <ac:spMkLst>
            <pc:docMk/>
            <pc:sldMk cId="822483613" sldId="538"/>
            <ac:spMk id="19" creationId="{8EBDBA09-EDD8-FFE9-5AB1-157BBCC9C430}"/>
          </ac:spMkLst>
        </pc:spChg>
        <pc:spChg chg="add del mod replST">
          <ac:chgData name="Brito Cortés, Sofía Constanza" userId="bc780694-5ad3-4b43-9d08-68ceeeeb3a92" providerId="ADAL" clId="{78668647-0E4E-4D51-9C0E-13926B4FF229}" dt="2023-07-13T14:36:08.102" v="2164"/>
          <ac:spMkLst>
            <pc:docMk/>
            <pc:sldMk cId="822483613" sldId="538"/>
            <ac:spMk id="20" creationId="{8EBDBA09-EDD8-FFE9-5AB1-157BBCC9C430}"/>
          </ac:spMkLst>
        </pc:spChg>
        <pc:spChg chg="add del mod replST">
          <ac:chgData name="Brito Cortés, Sofía Constanza" userId="bc780694-5ad3-4b43-9d08-68ceeeeb3a92" providerId="ADAL" clId="{78668647-0E4E-4D51-9C0E-13926B4FF229}" dt="2023-07-13T14:36:08.177" v="2226"/>
          <ac:spMkLst>
            <pc:docMk/>
            <pc:sldMk cId="822483613" sldId="538"/>
            <ac:spMk id="21" creationId="{8EBDBA09-EDD8-FFE9-5AB1-157BBCC9C430}"/>
          </ac:spMkLst>
        </pc:spChg>
        <pc:spChg chg="add del mod replST">
          <ac:chgData name="Brito Cortés, Sofía Constanza" userId="bc780694-5ad3-4b43-9d08-68ceeeeb3a92" providerId="ADAL" clId="{78668647-0E4E-4D51-9C0E-13926B4FF229}" dt="2023-07-13T14:36:08.245" v="2285"/>
          <ac:spMkLst>
            <pc:docMk/>
            <pc:sldMk cId="822483613" sldId="538"/>
            <ac:spMk id="22" creationId="{8EBDBA09-EDD8-FFE9-5AB1-157BBCC9C430}"/>
          </ac:spMkLst>
        </pc:spChg>
        <pc:spChg chg="add del mod replST">
          <ac:chgData name="Brito Cortés, Sofía Constanza" userId="bc780694-5ad3-4b43-9d08-68ceeeeb3a92" providerId="ADAL" clId="{78668647-0E4E-4D51-9C0E-13926B4FF229}" dt="2023-07-13T14:36:08.328" v="2347"/>
          <ac:spMkLst>
            <pc:docMk/>
            <pc:sldMk cId="822483613" sldId="538"/>
            <ac:spMk id="23" creationId="{8EBDBA09-EDD8-FFE9-5AB1-157BBCC9C430}"/>
          </ac:spMkLst>
        </pc:spChg>
        <pc:spChg chg="add del mod replST">
          <ac:chgData name="Brito Cortés, Sofía Constanza" userId="bc780694-5ad3-4b43-9d08-68ceeeeb3a92" providerId="ADAL" clId="{78668647-0E4E-4D51-9C0E-13926B4FF229}" dt="2023-07-13T14:36:08.400" v="2406"/>
          <ac:spMkLst>
            <pc:docMk/>
            <pc:sldMk cId="822483613" sldId="538"/>
            <ac:spMk id="24" creationId="{8EBDBA09-EDD8-FFE9-5AB1-157BBCC9C430}"/>
          </ac:spMkLst>
        </pc:spChg>
        <pc:spChg chg="add del mod replST">
          <ac:chgData name="Brito Cortés, Sofía Constanza" userId="bc780694-5ad3-4b43-9d08-68ceeeeb3a92" providerId="ADAL" clId="{78668647-0E4E-4D51-9C0E-13926B4FF229}" dt="2023-07-13T14:36:08.487" v="2468"/>
          <ac:spMkLst>
            <pc:docMk/>
            <pc:sldMk cId="822483613" sldId="538"/>
            <ac:spMk id="25" creationId="{8EBDBA09-EDD8-FFE9-5AB1-157BBCC9C430}"/>
          </ac:spMkLst>
        </pc:spChg>
        <pc:spChg chg="add del mod">
          <ac:chgData name="Brito Cortés, Sofía Constanza" userId="bc780694-5ad3-4b43-9d08-68ceeeeb3a92" providerId="ADAL" clId="{78668647-0E4E-4D51-9C0E-13926B4FF229}" dt="2023-07-13T15:42:54.605" v="5548" actId="478"/>
          <ac:spMkLst>
            <pc:docMk/>
            <pc:sldMk cId="822483613" sldId="538"/>
            <ac:spMk id="28" creationId="{66656BAC-09AE-377C-8AA6-534AF9B479E6}"/>
          </ac:spMkLst>
        </pc:spChg>
        <pc:spChg chg="mod">
          <ac:chgData name="Brito Cortés, Sofía Constanza" userId="bc780694-5ad3-4b43-9d08-68ceeeeb3a92" providerId="ADAL" clId="{78668647-0E4E-4D51-9C0E-13926B4FF229}" dt="2023-07-13T14:49:02.401" v="5031"/>
          <ac:spMkLst>
            <pc:docMk/>
            <pc:sldMk cId="822483613" sldId="538"/>
            <ac:spMk id="58" creationId="{00000000-0000-0000-0000-000000000000}"/>
          </ac:spMkLst>
        </pc:spChg>
        <pc:spChg chg="mod ord">
          <ac:chgData name="Brito Cortés, Sofía Constanza" userId="bc780694-5ad3-4b43-9d08-68ceeeeb3a92" providerId="ADAL" clId="{78668647-0E4E-4D51-9C0E-13926B4FF229}" dt="2023-07-13T14:49:02.401" v="5030"/>
          <ac:spMkLst>
            <pc:docMk/>
            <pc:sldMk cId="822483613" sldId="538"/>
            <ac:spMk id="59" creationId="{00000000-0000-0000-0000-000000000000}"/>
          </ac:spMkLst>
        </pc:spChg>
        <pc:spChg chg="mod ord">
          <ac:chgData name="Brito Cortés, Sofía Constanza" userId="bc780694-5ad3-4b43-9d08-68ceeeeb3a92" providerId="ADAL" clId="{78668647-0E4E-4D51-9C0E-13926B4FF229}" dt="2023-07-13T14:49:02.402" v="5033"/>
          <ac:spMkLst>
            <pc:docMk/>
            <pc:sldMk cId="822483613" sldId="538"/>
            <ac:spMk id="60" creationId="{00000000-0000-0000-0000-000000000000}"/>
          </ac:spMkLst>
        </pc:spChg>
        <pc:spChg chg="mod">
          <ac:chgData name="Brito Cortés, Sofía Constanza" userId="bc780694-5ad3-4b43-9d08-68ceeeeb3a92" providerId="ADAL" clId="{78668647-0E4E-4D51-9C0E-13926B4FF229}" dt="2023-07-13T14:49:02.403" v="5035"/>
          <ac:spMkLst>
            <pc:docMk/>
            <pc:sldMk cId="822483613" sldId="538"/>
            <ac:spMk id="61" creationId="{00000000-0000-0000-0000-000000000000}"/>
          </ac:spMkLst>
        </pc:spChg>
        <pc:spChg chg="mod">
          <ac:chgData name="Brito Cortés, Sofía Constanza" userId="bc780694-5ad3-4b43-9d08-68ceeeeb3a92" providerId="ADAL" clId="{78668647-0E4E-4D51-9C0E-13926B4FF229}" dt="2023-07-13T14:49:02.400" v="5027"/>
          <ac:spMkLst>
            <pc:docMk/>
            <pc:sldMk cId="822483613" sldId="538"/>
            <ac:spMk id="62" creationId="{00000000-0000-0000-0000-000000000000}"/>
          </ac:spMkLst>
        </pc:spChg>
        <pc:spChg chg="mod ord">
          <ac:chgData name="Brito Cortés, Sofía Constanza" userId="bc780694-5ad3-4b43-9d08-68ceeeeb3a92" providerId="ADAL" clId="{78668647-0E4E-4D51-9C0E-13926B4FF229}" dt="2023-07-13T14:49:02.399" v="5026"/>
          <ac:spMkLst>
            <pc:docMk/>
            <pc:sldMk cId="822483613" sldId="538"/>
            <ac:spMk id="63" creationId="{00000000-0000-0000-0000-000000000000}"/>
          </ac:spMkLst>
        </pc:spChg>
        <pc:spChg chg="mod">
          <ac:chgData name="Brito Cortés, Sofía Constanza" userId="bc780694-5ad3-4b43-9d08-68ceeeeb3a92" providerId="ADAL" clId="{78668647-0E4E-4D51-9C0E-13926B4FF229}" dt="2023-07-13T14:49:02.400" v="5028"/>
          <ac:spMkLst>
            <pc:docMk/>
            <pc:sldMk cId="822483613" sldId="538"/>
            <ac:spMk id="64" creationId="{00000000-0000-0000-0000-000000000000}"/>
          </ac:spMkLst>
        </pc:spChg>
        <pc:spChg chg="mod">
          <ac:chgData name="Brito Cortés, Sofía Constanza" userId="bc780694-5ad3-4b43-9d08-68ceeeeb3a92" providerId="ADAL" clId="{78668647-0E4E-4D51-9C0E-13926B4FF229}" dt="2023-07-13T14:49:02.403" v="5036"/>
          <ac:spMkLst>
            <pc:docMk/>
            <pc:sldMk cId="822483613" sldId="538"/>
            <ac:spMk id="65" creationId="{00000000-0000-0000-0000-000000000000}"/>
          </ac:spMkLst>
        </pc:spChg>
        <pc:spChg chg="mod ord">
          <ac:chgData name="Brito Cortés, Sofía Constanza" userId="bc780694-5ad3-4b43-9d08-68ceeeeb3a92" providerId="ADAL" clId="{78668647-0E4E-4D51-9C0E-13926B4FF229}" dt="2023-07-13T14:49:02.404" v="5038"/>
          <ac:spMkLst>
            <pc:docMk/>
            <pc:sldMk cId="822483613" sldId="538"/>
            <ac:spMk id="66" creationId="{00000000-0000-0000-0000-000000000000}"/>
          </ac:spMkLst>
        </pc:spChg>
        <pc:spChg chg="mod">
          <ac:chgData name="Brito Cortés, Sofía Constanza" userId="bc780694-5ad3-4b43-9d08-68ceeeeb3a92" providerId="ADAL" clId="{78668647-0E4E-4D51-9C0E-13926B4FF229}" dt="2023-07-13T14:49:02.405" v="5039"/>
          <ac:spMkLst>
            <pc:docMk/>
            <pc:sldMk cId="822483613" sldId="538"/>
            <ac:spMk id="67" creationId="{00000000-0000-0000-0000-000000000000}"/>
          </ac:spMkLst>
        </pc:spChg>
        <pc:spChg chg="mod">
          <ac:chgData name="Brito Cortés, Sofía Constanza" userId="bc780694-5ad3-4b43-9d08-68ceeeeb3a92" providerId="ADAL" clId="{78668647-0E4E-4D51-9C0E-13926B4FF229}" dt="2023-07-13T14:49:02.402" v="5034"/>
          <ac:spMkLst>
            <pc:docMk/>
            <pc:sldMk cId="822483613" sldId="538"/>
            <ac:spMk id="68" creationId="{00000000-0000-0000-0000-000000000000}"/>
          </ac:spMkLst>
        </pc:spChg>
        <pc:spChg chg="mod ord">
          <ac:chgData name="Brito Cortés, Sofía Constanza" userId="bc780694-5ad3-4b43-9d08-68ceeeeb3a92" providerId="ADAL" clId="{78668647-0E4E-4D51-9C0E-13926B4FF229}" dt="2023-07-13T14:49:02.405" v="5041"/>
          <ac:spMkLst>
            <pc:docMk/>
            <pc:sldMk cId="822483613" sldId="538"/>
            <ac:spMk id="69" creationId="{00000000-0000-0000-0000-000000000000}"/>
          </ac:spMkLst>
        </pc:spChg>
        <pc:spChg chg="mod">
          <ac:chgData name="Brito Cortés, Sofía Constanza" userId="bc780694-5ad3-4b43-9d08-68ceeeeb3a92" providerId="ADAL" clId="{78668647-0E4E-4D51-9C0E-13926B4FF229}" dt="2023-07-13T14:49:02.408" v="5047"/>
          <ac:spMkLst>
            <pc:docMk/>
            <pc:sldMk cId="822483613" sldId="538"/>
            <ac:spMk id="81" creationId="{00000000-0000-0000-0000-000000000000}"/>
          </ac:spMkLst>
        </pc:spChg>
        <pc:spChg chg="mod">
          <ac:chgData name="Brito Cortés, Sofía Constanza" userId="bc780694-5ad3-4b43-9d08-68ceeeeb3a92" providerId="ADAL" clId="{78668647-0E4E-4D51-9C0E-13926B4FF229}" dt="2023-07-13T14:49:02.415" v="5060"/>
          <ac:spMkLst>
            <pc:docMk/>
            <pc:sldMk cId="822483613" sldId="538"/>
            <ac:spMk id="83" creationId="{00000000-0000-0000-0000-000000000000}"/>
          </ac:spMkLst>
        </pc:spChg>
        <pc:spChg chg="mod">
          <ac:chgData name="Brito Cortés, Sofía Constanza" userId="bc780694-5ad3-4b43-9d08-68ceeeeb3a92" providerId="ADAL" clId="{78668647-0E4E-4D51-9C0E-13926B4FF229}" dt="2023-07-13T14:49:02.413" v="5056"/>
          <ac:spMkLst>
            <pc:docMk/>
            <pc:sldMk cId="822483613" sldId="538"/>
            <ac:spMk id="85" creationId="{00000000-0000-0000-0000-000000000000}"/>
          </ac:spMkLst>
        </pc:spChg>
        <pc:spChg chg="mod">
          <ac:chgData name="Brito Cortés, Sofía Constanza" userId="bc780694-5ad3-4b43-9d08-68ceeeeb3a92" providerId="ADAL" clId="{78668647-0E4E-4D51-9C0E-13926B4FF229}" dt="2023-07-13T14:49:02.408" v="5046"/>
          <ac:spMkLst>
            <pc:docMk/>
            <pc:sldMk cId="822483613" sldId="538"/>
            <ac:spMk id="86" creationId="{00000000-0000-0000-0000-000000000000}"/>
          </ac:spMkLst>
        </pc:spChg>
        <pc:spChg chg="mod">
          <ac:chgData name="Brito Cortés, Sofía Constanza" userId="bc780694-5ad3-4b43-9d08-68ceeeeb3a92" providerId="ADAL" clId="{78668647-0E4E-4D51-9C0E-13926B4FF229}" dt="2023-07-13T14:49:02.415" v="5059"/>
          <ac:spMkLst>
            <pc:docMk/>
            <pc:sldMk cId="822483613" sldId="538"/>
            <ac:spMk id="87" creationId="{00000000-0000-0000-0000-000000000000}"/>
          </ac:spMkLst>
        </pc:spChg>
        <pc:spChg chg="mod">
          <ac:chgData name="Brito Cortés, Sofía Constanza" userId="bc780694-5ad3-4b43-9d08-68ceeeeb3a92" providerId="ADAL" clId="{78668647-0E4E-4D51-9C0E-13926B4FF229}" dt="2023-07-13T14:49:02.409" v="5048"/>
          <ac:spMkLst>
            <pc:docMk/>
            <pc:sldMk cId="822483613" sldId="538"/>
            <ac:spMk id="91" creationId="{00000000-0000-0000-0000-000000000000}"/>
          </ac:spMkLst>
        </pc:spChg>
        <pc:spChg chg="mod">
          <ac:chgData name="Brito Cortés, Sofía Constanza" userId="bc780694-5ad3-4b43-9d08-68ceeeeb3a92" providerId="ADAL" clId="{78668647-0E4E-4D51-9C0E-13926B4FF229}" dt="2023-07-13T14:49:02.410" v="5051"/>
          <ac:spMkLst>
            <pc:docMk/>
            <pc:sldMk cId="822483613" sldId="538"/>
            <ac:spMk id="92" creationId="{00000000-0000-0000-0000-000000000000}"/>
          </ac:spMkLst>
        </pc:spChg>
        <pc:spChg chg="mod">
          <ac:chgData name="Brito Cortés, Sofía Constanza" userId="bc780694-5ad3-4b43-9d08-68ceeeeb3a92" providerId="ADAL" clId="{78668647-0E4E-4D51-9C0E-13926B4FF229}" dt="2023-07-13T14:49:02.409" v="5049"/>
          <ac:spMkLst>
            <pc:docMk/>
            <pc:sldMk cId="822483613" sldId="538"/>
            <ac:spMk id="93" creationId="{00000000-0000-0000-0000-000000000000}"/>
          </ac:spMkLst>
        </pc:spChg>
        <pc:spChg chg="mod">
          <ac:chgData name="Brito Cortés, Sofía Constanza" userId="bc780694-5ad3-4b43-9d08-68ceeeeb3a92" providerId="ADAL" clId="{78668647-0E4E-4D51-9C0E-13926B4FF229}" dt="2023-07-13T14:49:02.411" v="5052"/>
          <ac:spMkLst>
            <pc:docMk/>
            <pc:sldMk cId="822483613" sldId="538"/>
            <ac:spMk id="94" creationId="{00000000-0000-0000-0000-000000000000}"/>
          </ac:spMkLst>
        </pc:spChg>
        <pc:spChg chg="mod">
          <ac:chgData name="Brito Cortés, Sofía Constanza" userId="bc780694-5ad3-4b43-9d08-68ceeeeb3a92" providerId="ADAL" clId="{78668647-0E4E-4D51-9C0E-13926B4FF229}" dt="2023-07-13T14:49:02.411" v="5053"/>
          <ac:spMkLst>
            <pc:docMk/>
            <pc:sldMk cId="822483613" sldId="538"/>
            <ac:spMk id="95" creationId="{00000000-0000-0000-0000-000000000000}"/>
          </ac:spMkLst>
        </pc:spChg>
        <pc:spChg chg="mod">
          <ac:chgData name="Brito Cortés, Sofía Constanza" userId="bc780694-5ad3-4b43-9d08-68ceeeeb3a92" providerId="ADAL" clId="{78668647-0E4E-4D51-9C0E-13926B4FF229}" dt="2023-07-13T14:49:02.410" v="5050"/>
          <ac:spMkLst>
            <pc:docMk/>
            <pc:sldMk cId="822483613" sldId="538"/>
            <ac:spMk id="96" creationId="{00000000-0000-0000-0000-000000000000}"/>
          </ac:spMkLst>
        </pc:spChg>
        <pc:spChg chg="mod">
          <ac:chgData name="Brito Cortés, Sofía Constanza" userId="bc780694-5ad3-4b43-9d08-68ceeeeb3a92" providerId="ADAL" clId="{78668647-0E4E-4D51-9C0E-13926B4FF229}" dt="2023-07-13T14:49:02.412" v="5054"/>
          <ac:spMkLst>
            <pc:docMk/>
            <pc:sldMk cId="822483613" sldId="538"/>
            <ac:spMk id="97" creationId="{00000000-0000-0000-0000-000000000000}"/>
          </ac:spMkLst>
        </pc:spChg>
        <pc:spChg chg="mod">
          <ac:chgData name="Brito Cortés, Sofía Constanza" userId="bc780694-5ad3-4b43-9d08-68ceeeeb3a92" providerId="ADAL" clId="{78668647-0E4E-4D51-9C0E-13926B4FF229}" dt="2023-07-13T14:49:02.412" v="5055"/>
          <ac:spMkLst>
            <pc:docMk/>
            <pc:sldMk cId="822483613" sldId="538"/>
            <ac:spMk id="98" creationId="{00000000-0000-0000-0000-000000000000}"/>
          </ac:spMkLst>
        </pc:spChg>
        <pc:spChg chg="mod">
          <ac:chgData name="Brito Cortés, Sofía Constanza" userId="bc780694-5ad3-4b43-9d08-68ceeeeb3a92" providerId="ADAL" clId="{78668647-0E4E-4D51-9C0E-13926B4FF229}" dt="2023-07-13T14:49:02.414" v="5057"/>
          <ac:spMkLst>
            <pc:docMk/>
            <pc:sldMk cId="822483613" sldId="538"/>
            <ac:spMk id="99" creationId="{00000000-0000-0000-0000-000000000000}"/>
          </ac:spMkLst>
        </pc:spChg>
        <pc:spChg chg="mod">
          <ac:chgData name="Brito Cortés, Sofía Constanza" userId="bc780694-5ad3-4b43-9d08-68ceeeeb3a92" providerId="ADAL" clId="{78668647-0E4E-4D51-9C0E-13926B4FF229}" dt="2023-07-13T14:49:02.414" v="5058"/>
          <ac:spMkLst>
            <pc:docMk/>
            <pc:sldMk cId="822483613" sldId="538"/>
            <ac:spMk id="100" creationId="{00000000-0000-0000-0000-000000000000}"/>
          </ac:spMkLst>
        </pc:spChg>
        <pc:spChg chg="mod ord">
          <ac:chgData name="Brito Cortés, Sofía Constanza" userId="bc780694-5ad3-4b43-9d08-68ceeeeb3a92" providerId="ADAL" clId="{78668647-0E4E-4D51-9C0E-13926B4FF229}" dt="2023-07-13T14:49:02.420" v="5070"/>
          <ac:spMkLst>
            <pc:docMk/>
            <pc:sldMk cId="822483613" sldId="538"/>
            <ac:spMk id="104" creationId="{00000000-0000-0000-0000-000000000000}"/>
          </ac:spMkLst>
        </pc:spChg>
        <pc:spChg chg="mod ord">
          <ac:chgData name="Brito Cortés, Sofía Constanza" userId="bc780694-5ad3-4b43-9d08-68ceeeeb3a92" providerId="ADAL" clId="{78668647-0E4E-4D51-9C0E-13926B4FF229}" dt="2023-07-13T14:49:02.416" v="5062"/>
          <ac:spMkLst>
            <pc:docMk/>
            <pc:sldMk cId="822483613" sldId="538"/>
            <ac:spMk id="369" creationId="{00000000-0000-0000-0000-000000000000}"/>
          </ac:spMkLst>
        </pc:spChg>
        <pc:spChg chg="mod ord">
          <ac:chgData name="Brito Cortés, Sofía Constanza" userId="bc780694-5ad3-4b43-9d08-68ceeeeb3a92" providerId="ADAL" clId="{78668647-0E4E-4D51-9C0E-13926B4FF229}" dt="2023-07-13T14:49:02.418" v="5066"/>
          <ac:spMkLst>
            <pc:docMk/>
            <pc:sldMk cId="822483613" sldId="538"/>
            <ac:spMk id="377" creationId="{00000000-0000-0000-0000-000000000000}"/>
          </ac:spMkLst>
        </pc:spChg>
        <pc:graphicFrameChg chg="add del mod replST">
          <ac:chgData name="Brito Cortés, Sofía Constanza" userId="bc780694-5ad3-4b43-9d08-68ceeeeb3a92" providerId="ADAL" clId="{78668647-0E4E-4D51-9C0E-13926B4FF229}" dt="2023-07-13T14:47:22.543" v="3891"/>
          <ac:graphicFrameMkLst>
            <pc:docMk/>
            <pc:sldMk cId="822483613" sldId="538"/>
            <ac:graphicFrameMk id="4" creationId="{A1FA6723-3FA5-639D-B70B-FECF1F41B150}"/>
          </ac:graphicFrameMkLst>
        </pc:graphicFrameChg>
        <pc:graphicFrameChg chg="add del mod replST">
          <ac:chgData name="Brito Cortés, Sofía Constanza" userId="bc780694-5ad3-4b43-9d08-68ceeeeb3a92" providerId="ADAL" clId="{78668647-0E4E-4D51-9C0E-13926B4FF229}" dt="2023-07-13T14:48:24.206" v="4451"/>
          <ac:graphicFrameMkLst>
            <pc:docMk/>
            <pc:sldMk cId="822483613" sldId="538"/>
            <ac:graphicFrameMk id="5" creationId="{D04E7231-FC5F-E030-EE90-27DB6DEBD9D8}"/>
          </ac:graphicFrameMkLst>
        </pc:graphicFrameChg>
        <pc:graphicFrameChg chg="add del mod replST">
          <ac:chgData name="Brito Cortés, Sofía Constanza" userId="bc780694-5ad3-4b43-9d08-68ceeeeb3a92" providerId="ADAL" clId="{78668647-0E4E-4D51-9C0E-13926B4FF229}" dt="2023-07-13T14:47:30.595" v="3971"/>
          <ac:graphicFrameMkLst>
            <pc:docMk/>
            <pc:sldMk cId="822483613" sldId="538"/>
            <ac:graphicFrameMk id="7" creationId="{7EF4D08E-2BAE-49E4-DA80-B1867205BC1F}"/>
          </ac:graphicFrameMkLst>
        </pc:graphicFrameChg>
        <pc:graphicFrameChg chg="add del mod replST">
          <ac:chgData name="Brito Cortés, Sofía Constanza" userId="bc780694-5ad3-4b43-9d08-68ceeeeb3a92" providerId="ADAL" clId="{78668647-0E4E-4D51-9C0E-13926B4FF229}" dt="2023-07-13T14:47:38.352" v="4051"/>
          <ac:graphicFrameMkLst>
            <pc:docMk/>
            <pc:sldMk cId="822483613" sldId="538"/>
            <ac:graphicFrameMk id="8" creationId="{8253846C-88D5-BC8A-BA9A-4A075D492613}"/>
          </ac:graphicFrameMkLst>
        </pc:graphicFrameChg>
        <pc:graphicFrameChg chg="add del mod replST">
          <ac:chgData name="Brito Cortés, Sofía Constanza" userId="bc780694-5ad3-4b43-9d08-68ceeeeb3a92" providerId="ADAL" clId="{78668647-0E4E-4D51-9C0E-13926B4FF229}" dt="2023-07-13T14:47:50.110" v="4131"/>
          <ac:graphicFrameMkLst>
            <pc:docMk/>
            <pc:sldMk cId="822483613" sldId="538"/>
            <ac:graphicFrameMk id="9" creationId="{CB4C7AC7-31FC-3FF0-1B9C-6A748D9C6E19}"/>
          </ac:graphicFrameMkLst>
        </pc:graphicFrameChg>
        <pc:graphicFrameChg chg="add del mod replST">
          <ac:chgData name="Brito Cortés, Sofía Constanza" userId="bc780694-5ad3-4b43-9d08-68ceeeeb3a92" providerId="ADAL" clId="{78668647-0E4E-4D51-9C0E-13926B4FF229}" dt="2023-07-13T14:47:58.177" v="4211"/>
          <ac:graphicFrameMkLst>
            <pc:docMk/>
            <pc:sldMk cId="822483613" sldId="538"/>
            <ac:graphicFrameMk id="10" creationId="{0D0E3207-09F7-461E-EFF2-57B969A128D1}"/>
          </ac:graphicFrameMkLst>
        </pc:graphicFrameChg>
        <pc:graphicFrameChg chg="add del mod replST">
          <ac:chgData name="Brito Cortés, Sofía Constanza" userId="bc780694-5ad3-4b43-9d08-68ceeeeb3a92" providerId="ADAL" clId="{78668647-0E4E-4D51-9C0E-13926B4FF229}" dt="2023-07-13T14:48:05.932" v="4291"/>
          <ac:graphicFrameMkLst>
            <pc:docMk/>
            <pc:sldMk cId="822483613" sldId="538"/>
            <ac:graphicFrameMk id="14" creationId="{72328C6A-1FCE-225B-DD16-6C90458D6600}"/>
          </ac:graphicFrameMkLst>
        </pc:graphicFrameChg>
        <pc:graphicFrameChg chg="add del mod replST">
          <ac:chgData name="Brito Cortés, Sofía Constanza" userId="bc780694-5ad3-4b43-9d08-68ceeeeb3a92" providerId="ADAL" clId="{78668647-0E4E-4D51-9C0E-13926B4FF229}" dt="2023-07-13T14:48:14.295" v="4371"/>
          <ac:graphicFrameMkLst>
            <pc:docMk/>
            <pc:sldMk cId="822483613" sldId="538"/>
            <ac:graphicFrameMk id="15" creationId="{02FB3711-B37A-969B-7890-4853B1A900B8}"/>
          </ac:graphicFrameMkLst>
        </pc:graphicFrameChg>
        <pc:graphicFrameChg chg="add del mod replST">
          <ac:chgData name="Brito Cortés, Sofía Constanza" userId="bc780694-5ad3-4b43-9d08-68ceeeeb3a92" providerId="ADAL" clId="{78668647-0E4E-4D51-9C0E-13926B4FF229}" dt="2023-07-13T14:47:08.760" v="3786"/>
          <ac:graphicFrameMkLst>
            <pc:docMk/>
            <pc:sldMk cId="822483613" sldId="538"/>
            <ac:graphicFrameMk id="16" creationId="{2D35AB6A-5568-BCB2-C5DA-A9744A3CB7A1}"/>
          </ac:graphicFrameMkLst>
        </pc:graphicFrameChg>
        <pc:graphicFrameChg chg="add mod replST">
          <ac:chgData name="Brito Cortés, Sofía Constanza" userId="bc780694-5ad3-4b43-9d08-68ceeeeb3a92" providerId="ADAL" clId="{78668647-0E4E-4D51-9C0E-13926B4FF229}" dt="2023-07-13T14:49:02.399" v="5024"/>
          <ac:graphicFrameMkLst>
            <pc:docMk/>
            <pc:sldMk cId="822483613" sldId="538"/>
            <ac:graphicFrameMk id="17" creationId="{D83A61AB-CF08-8521-FB51-DC3C0B30CFCB}"/>
          </ac:graphicFrameMkLst>
        </pc:graphicFrameChg>
        <pc:graphicFrameChg chg="mod">
          <ac:chgData name="Brito Cortés, Sofía Constanza" userId="bc780694-5ad3-4b43-9d08-68ceeeeb3a92" providerId="ADAL" clId="{78668647-0E4E-4D51-9C0E-13926B4FF229}" dt="2023-07-13T14:49:02.427" v="5074"/>
          <ac:graphicFrameMkLst>
            <pc:docMk/>
            <pc:sldMk cId="822483613" sldId="538"/>
            <ac:graphicFrameMk id="18" creationId="{00000000-0000-0000-0000-000000000000}"/>
          </ac:graphicFrameMkLst>
        </pc:graphicFrameChg>
        <pc:graphicFrameChg chg="add del mod replST">
          <ac:chgData name="Brito Cortés, Sofía Constanza" userId="bc780694-5ad3-4b43-9d08-68ceeeeb3a92" providerId="ADAL" clId="{78668647-0E4E-4D51-9C0E-13926B4FF229}" dt="2023-07-13T14:48:29.539" v="4531"/>
          <ac:graphicFrameMkLst>
            <pc:docMk/>
            <pc:sldMk cId="822483613" sldId="538"/>
            <ac:graphicFrameMk id="19" creationId="{592DA2E5-64A4-8954-5CA0-DAE373C9CA99}"/>
          </ac:graphicFrameMkLst>
        </pc:graphicFrameChg>
        <pc:graphicFrameChg chg="add del mod replST">
          <ac:chgData name="Brito Cortés, Sofía Constanza" userId="bc780694-5ad3-4b43-9d08-68ceeeeb3a92" providerId="ADAL" clId="{78668647-0E4E-4D51-9C0E-13926B4FF229}" dt="2023-07-13T14:48:34.524" v="4611"/>
          <ac:graphicFrameMkLst>
            <pc:docMk/>
            <pc:sldMk cId="822483613" sldId="538"/>
            <ac:graphicFrameMk id="20" creationId="{FBEA46A4-9A4E-1324-625F-7E1C2F683942}"/>
          </ac:graphicFrameMkLst>
        </pc:graphicFrameChg>
        <pc:graphicFrameChg chg="add del mod replST">
          <ac:chgData name="Brito Cortés, Sofía Constanza" userId="bc780694-5ad3-4b43-9d08-68ceeeeb3a92" providerId="ADAL" clId="{78668647-0E4E-4D51-9C0E-13926B4FF229}" dt="2023-07-13T14:48:38.881" v="4691"/>
          <ac:graphicFrameMkLst>
            <pc:docMk/>
            <pc:sldMk cId="822483613" sldId="538"/>
            <ac:graphicFrameMk id="21" creationId="{86558BB5-3E05-2DFF-DF82-194F4FF3486C}"/>
          </ac:graphicFrameMkLst>
        </pc:graphicFrameChg>
        <pc:graphicFrameChg chg="add del mod replST">
          <ac:chgData name="Brito Cortés, Sofía Constanza" userId="bc780694-5ad3-4b43-9d08-68ceeeeb3a92" providerId="ADAL" clId="{78668647-0E4E-4D51-9C0E-13926B4FF229}" dt="2023-07-13T14:48:46.054" v="4771"/>
          <ac:graphicFrameMkLst>
            <pc:docMk/>
            <pc:sldMk cId="822483613" sldId="538"/>
            <ac:graphicFrameMk id="22" creationId="{2C16AC10-8D7E-C362-B5A1-F61049D517B4}"/>
          </ac:graphicFrameMkLst>
        </pc:graphicFrameChg>
        <pc:graphicFrameChg chg="add del mod replST">
          <ac:chgData name="Brito Cortés, Sofía Constanza" userId="bc780694-5ad3-4b43-9d08-68ceeeeb3a92" providerId="ADAL" clId="{78668647-0E4E-4D51-9C0E-13926B4FF229}" dt="2023-07-13T14:48:51.245" v="4851"/>
          <ac:graphicFrameMkLst>
            <pc:docMk/>
            <pc:sldMk cId="822483613" sldId="538"/>
            <ac:graphicFrameMk id="23" creationId="{67D0774D-1394-3E1A-C556-F82AD737F450}"/>
          </ac:graphicFrameMkLst>
        </pc:graphicFrameChg>
        <pc:graphicFrameChg chg="add del mod replST">
          <ac:chgData name="Brito Cortés, Sofía Constanza" userId="bc780694-5ad3-4b43-9d08-68ceeeeb3a92" providerId="ADAL" clId="{78668647-0E4E-4D51-9C0E-13926B4FF229}" dt="2023-07-13T14:48:56.624" v="4931"/>
          <ac:graphicFrameMkLst>
            <pc:docMk/>
            <pc:sldMk cId="822483613" sldId="538"/>
            <ac:graphicFrameMk id="24" creationId="{FCA517D6-9004-29AC-2EE9-0CF073725069}"/>
          </ac:graphicFrameMkLst>
        </pc:graphicFrameChg>
        <pc:graphicFrameChg chg="add del mod replST">
          <ac:chgData name="Brito Cortés, Sofía Constanza" userId="bc780694-5ad3-4b43-9d08-68ceeeeb3a92" providerId="ADAL" clId="{78668647-0E4E-4D51-9C0E-13926B4FF229}" dt="2023-07-13T14:49:02.380" v="5011"/>
          <ac:graphicFrameMkLst>
            <pc:docMk/>
            <pc:sldMk cId="822483613" sldId="538"/>
            <ac:graphicFrameMk id="25" creationId="{3E548B76-1830-035A-FBB3-AD3D7E842A7D}"/>
          </ac:graphicFrameMkLst>
        </pc:graphicFrameChg>
        <pc:graphicFrameChg chg="add del mod replST">
          <ac:chgData name="Brito Cortés, Sofía Constanza" userId="bc780694-5ad3-4b43-9d08-68ceeeeb3a92" providerId="ADAL" clId="{78668647-0E4E-4D51-9C0E-13926B4FF229}" dt="2023-07-13T14:47:08.802" v="3809"/>
          <ac:graphicFrameMkLst>
            <pc:docMk/>
            <pc:sldMk cId="822483613" sldId="538"/>
            <ac:graphicFrameMk id="26" creationId="{2E85CE2E-155C-1163-46F6-6C243811F64D}"/>
          </ac:graphicFrameMkLst>
        </pc:graphicFrameChg>
        <pc:graphicFrameChg chg="add mod replST">
          <ac:chgData name="Brito Cortés, Sofía Constanza" userId="bc780694-5ad3-4b43-9d08-68ceeeeb3a92" providerId="ADAL" clId="{78668647-0E4E-4D51-9C0E-13926B4FF229}" dt="2023-07-13T14:49:02.407" v="5045"/>
          <ac:graphicFrameMkLst>
            <pc:docMk/>
            <pc:sldMk cId="822483613" sldId="538"/>
            <ac:graphicFrameMk id="27" creationId="{C8335773-61A7-3A02-943D-BFB79918E99D}"/>
          </ac:graphicFrameMkLst>
        </pc:graphicFrameChg>
        <pc:graphicFrameChg chg="del">
          <ac:chgData name="Brito Cortés, Sofía Constanza" userId="bc780694-5ad3-4b43-9d08-68ceeeeb3a92" providerId="ADAL" clId="{78668647-0E4E-4D51-9C0E-13926B4FF229}" dt="2023-07-13T14:36:07.860" v="1978"/>
          <ac:graphicFrameMkLst>
            <pc:docMk/>
            <pc:sldMk cId="822483613" sldId="538"/>
            <ac:graphicFrameMk id="70" creationId="{A46671E1-245D-4371-A579-0B1E75014C14}"/>
          </ac:graphicFrameMkLst>
        </pc:graphicFrameChg>
        <pc:graphicFrameChg chg="del">
          <ac:chgData name="Brito Cortés, Sofía Constanza" userId="bc780694-5ad3-4b43-9d08-68ceeeeb3a92" providerId="ADAL" clId="{78668647-0E4E-4D51-9C0E-13926B4FF229}" dt="2023-07-13T14:36:08.541" v="2527"/>
          <ac:graphicFrameMkLst>
            <pc:docMk/>
            <pc:sldMk cId="822483613" sldId="538"/>
            <ac:graphicFrameMk id="71" creationId="{8C9FB987-57F8-4EB0-9A01-C72CE6FBD08F}"/>
          </ac:graphicFrameMkLst>
        </pc:graphicFrameChg>
        <pc:cxnChg chg="mod ord">
          <ac:chgData name="Brito Cortés, Sofía Constanza" userId="bc780694-5ad3-4b43-9d08-68ceeeeb3a92" providerId="ADAL" clId="{78668647-0E4E-4D51-9C0E-13926B4FF229}" dt="2023-07-13T14:49:02.417" v="5064"/>
          <ac:cxnSpMkLst>
            <pc:docMk/>
            <pc:sldMk cId="822483613" sldId="538"/>
            <ac:cxnSpMk id="370" creationId="{00000000-0000-0000-0000-000000000000}"/>
          </ac:cxnSpMkLst>
        </pc:cxnChg>
        <pc:cxnChg chg="mod ord">
          <ac:chgData name="Brito Cortés, Sofía Constanza" userId="bc780694-5ad3-4b43-9d08-68ceeeeb3a92" providerId="ADAL" clId="{78668647-0E4E-4D51-9C0E-13926B4FF229}" dt="2023-07-13T14:49:02.419" v="5068"/>
          <ac:cxnSpMkLst>
            <pc:docMk/>
            <pc:sldMk cId="822483613" sldId="538"/>
            <ac:cxnSpMk id="378" creationId="{00000000-0000-0000-0000-000000000000}"/>
          </ac:cxnSpMkLst>
        </pc:cxnChg>
      </pc:sldChg>
      <pc:sldChg chg="delSp">
        <pc:chgData name="Brito Cortés, Sofía Constanza" userId="bc780694-5ad3-4b43-9d08-68ceeeeb3a92" providerId="ADAL" clId="{78668647-0E4E-4D51-9C0E-13926B4FF229}" dt="2023-07-13T15:44:17.838" v="5554"/>
        <pc:sldMkLst>
          <pc:docMk/>
          <pc:sldMk cId="4259841825" sldId="766"/>
        </pc:sldMkLst>
        <pc:spChg chg="del">
          <ac:chgData name="Brito Cortés, Sofía Constanza" userId="bc780694-5ad3-4b43-9d08-68ceeeeb3a92" providerId="ADAL" clId="{78668647-0E4E-4D51-9C0E-13926B4FF229}" dt="2023-07-13T15:44:17.838" v="5554"/>
          <ac:spMkLst>
            <pc:docMk/>
            <pc:sldMk cId="4259841825" sldId="766"/>
            <ac:spMk id="4" creationId="{57EA52D8-E332-CA12-1DC4-E3928B564ED2}"/>
          </ac:spMkLst>
        </pc:spChg>
      </pc:sldChg>
      <pc:sldChg chg="delSp">
        <pc:chgData name="Brito Cortés, Sofía Constanza" userId="bc780694-5ad3-4b43-9d08-68ceeeeb3a92" providerId="ADAL" clId="{78668647-0E4E-4D51-9C0E-13926B4FF229}" dt="2023-07-13T15:44:17.838" v="5554"/>
        <pc:sldMkLst>
          <pc:docMk/>
          <pc:sldMk cId="1124602753" sldId="1342"/>
        </pc:sldMkLst>
        <pc:spChg chg="del">
          <ac:chgData name="Brito Cortés, Sofía Constanza" userId="bc780694-5ad3-4b43-9d08-68ceeeeb3a92" providerId="ADAL" clId="{78668647-0E4E-4D51-9C0E-13926B4FF229}" dt="2023-07-13T15:44:17.838" v="5554"/>
          <ac:spMkLst>
            <pc:docMk/>
            <pc:sldMk cId="1124602753" sldId="1342"/>
            <ac:spMk id="2" creationId="{88F2E841-A33C-6A1A-E06E-3C94CF54E598}"/>
          </ac:spMkLst>
        </pc:spChg>
      </pc:sldChg>
      <pc:sldChg chg="delSp">
        <pc:chgData name="Brito Cortés, Sofía Constanza" userId="bc780694-5ad3-4b43-9d08-68ceeeeb3a92" providerId="ADAL" clId="{78668647-0E4E-4D51-9C0E-13926B4FF229}" dt="2023-07-13T15:44:17.838" v="5554"/>
        <pc:sldMkLst>
          <pc:docMk/>
          <pc:sldMk cId="3363089439" sldId="1343"/>
        </pc:sldMkLst>
        <pc:spChg chg="del">
          <ac:chgData name="Brito Cortés, Sofía Constanza" userId="bc780694-5ad3-4b43-9d08-68ceeeeb3a92" providerId="ADAL" clId="{78668647-0E4E-4D51-9C0E-13926B4FF229}" dt="2023-07-13T15:44:17.838" v="5554"/>
          <ac:spMkLst>
            <pc:docMk/>
            <pc:sldMk cId="3363089439" sldId="1343"/>
            <ac:spMk id="2" creationId="{B6A635EB-507C-5EAD-F5B9-B6CF2D6E7A85}"/>
          </ac:spMkLst>
        </pc:spChg>
      </pc:sldChg>
      <pc:sldChg chg="delSp">
        <pc:chgData name="Brito Cortés, Sofía Constanza" userId="bc780694-5ad3-4b43-9d08-68ceeeeb3a92" providerId="ADAL" clId="{78668647-0E4E-4D51-9C0E-13926B4FF229}" dt="2023-07-13T15:44:17.838" v="5554"/>
        <pc:sldMkLst>
          <pc:docMk/>
          <pc:sldMk cId="3749523609" sldId="1344"/>
        </pc:sldMkLst>
        <pc:spChg chg="del">
          <ac:chgData name="Brito Cortés, Sofía Constanza" userId="bc780694-5ad3-4b43-9d08-68ceeeeb3a92" providerId="ADAL" clId="{78668647-0E4E-4D51-9C0E-13926B4FF229}" dt="2023-07-13T15:44:17.838" v="5554"/>
          <ac:spMkLst>
            <pc:docMk/>
            <pc:sldMk cId="3749523609" sldId="1344"/>
            <ac:spMk id="2" creationId="{9A5E0621-F821-352D-C40F-0938B3C181F8}"/>
          </ac:spMkLst>
        </pc:spChg>
      </pc:sldChg>
      <pc:sldChg chg="delSp">
        <pc:chgData name="Brito Cortés, Sofía Constanza" userId="bc780694-5ad3-4b43-9d08-68ceeeeb3a92" providerId="ADAL" clId="{78668647-0E4E-4D51-9C0E-13926B4FF229}" dt="2023-07-13T15:44:17.838" v="5554"/>
        <pc:sldMkLst>
          <pc:docMk/>
          <pc:sldMk cId="3089595943" sldId="1345"/>
        </pc:sldMkLst>
        <pc:spChg chg="del">
          <ac:chgData name="Brito Cortés, Sofía Constanza" userId="bc780694-5ad3-4b43-9d08-68ceeeeb3a92" providerId="ADAL" clId="{78668647-0E4E-4D51-9C0E-13926B4FF229}" dt="2023-07-13T15:44:17.838" v="5554"/>
          <ac:spMkLst>
            <pc:docMk/>
            <pc:sldMk cId="3089595943" sldId="1345"/>
            <ac:spMk id="2" creationId="{377F9C0B-D899-5CC2-3A31-DA31D99CD4FE}"/>
          </ac:spMkLst>
        </pc:spChg>
      </pc:sldChg>
      <pc:sldChg chg="delSp">
        <pc:chgData name="Brito Cortés, Sofía Constanza" userId="bc780694-5ad3-4b43-9d08-68ceeeeb3a92" providerId="ADAL" clId="{78668647-0E4E-4D51-9C0E-13926B4FF229}" dt="2023-07-13T15:44:17.838" v="5554"/>
        <pc:sldMkLst>
          <pc:docMk/>
          <pc:sldMk cId="3001611831" sldId="1349"/>
        </pc:sldMkLst>
        <pc:spChg chg="del">
          <ac:chgData name="Brito Cortés, Sofía Constanza" userId="bc780694-5ad3-4b43-9d08-68ceeeeb3a92" providerId="ADAL" clId="{78668647-0E4E-4D51-9C0E-13926B4FF229}" dt="2023-07-13T15:44:17.838" v="5554"/>
          <ac:spMkLst>
            <pc:docMk/>
            <pc:sldMk cId="3001611831" sldId="1349"/>
            <ac:spMk id="2" creationId="{498FBD31-DA9C-DCD3-8791-110F4E396870}"/>
          </ac:spMkLst>
        </pc:spChg>
      </pc:sldChg>
      <pc:sldChg chg="delSp">
        <pc:chgData name="Brito Cortés, Sofía Constanza" userId="bc780694-5ad3-4b43-9d08-68ceeeeb3a92" providerId="ADAL" clId="{78668647-0E4E-4D51-9C0E-13926B4FF229}" dt="2023-07-13T15:44:17.838" v="5554"/>
        <pc:sldMkLst>
          <pc:docMk/>
          <pc:sldMk cId="2333318966" sldId="1356"/>
        </pc:sldMkLst>
        <pc:spChg chg="del">
          <ac:chgData name="Brito Cortés, Sofía Constanza" userId="bc780694-5ad3-4b43-9d08-68ceeeeb3a92" providerId="ADAL" clId="{78668647-0E4E-4D51-9C0E-13926B4FF229}" dt="2023-07-13T15:44:17.838" v="5554"/>
          <ac:spMkLst>
            <pc:docMk/>
            <pc:sldMk cId="2333318966" sldId="1356"/>
            <ac:spMk id="2" creationId="{2AA53882-D390-C27B-5D2D-37E757245D52}"/>
          </ac:spMkLst>
        </pc:spChg>
      </pc:sldChg>
      <pc:sldChg chg="addSp delSp modSp mod">
        <pc:chgData name="Brito Cortés, Sofía Constanza" userId="bc780694-5ad3-4b43-9d08-68ceeeeb3a92" providerId="ADAL" clId="{78668647-0E4E-4D51-9C0E-13926B4FF229}" dt="2023-07-13T15:41:39.433" v="5479" actId="478"/>
        <pc:sldMkLst>
          <pc:docMk/>
          <pc:sldMk cId="2978932154" sldId="2147472045"/>
        </pc:sldMkLst>
        <pc:spChg chg="add del mod">
          <ac:chgData name="Brito Cortés, Sofía Constanza" userId="bc780694-5ad3-4b43-9d08-68ceeeeb3a92" providerId="ADAL" clId="{78668647-0E4E-4D51-9C0E-13926B4FF229}" dt="2023-07-13T15:41:39.433" v="5479" actId="478"/>
          <ac:spMkLst>
            <pc:docMk/>
            <pc:sldMk cId="2978932154" sldId="2147472045"/>
            <ac:spMk id="3" creationId="{B23F3DDB-C218-E468-FF49-5F07366389EE}"/>
          </ac:spMkLst>
        </pc:spChg>
        <pc:spChg chg="mod">
          <ac:chgData name="Brito Cortés, Sofía Constanza" userId="bc780694-5ad3-4b43-9d08-68ceeeeb3a92" providerId="ADAL" clId="{78668647-0E4E-4D51-9C0E-13926B4FF229}" dt="2023-07-13T15:41:34.415" v="5478" actId="14100"/>
          <ac:spMkLst>
            <pc:docMk/>
            <pc:sldMk cId="2978932154" sldId="2147472045"/>
            <ac:spMk id="5" creationId="{58CB0A50-5842-CA36-C782-05223D366F2E}"/>
          </ac:spMkLst>
        </pc:spChg>
      </pc:sldChg>
      <pc:sldChg chg="addSp delSp modSp mod">
        <pc:chgData name="Brito Cortés, Sofía Constanza" userId="bc780694-5ad3-4b43-9d08-68ceeeeb3a92" providerId="ADAL" clId="{78668647-0E4E-4D51-9C0E-13926B4FF229}" dt="2023-07-13T15:42:03.361" v="5505" actId="14100"/>
        <pc:sldMkLst>
          <pc:docMk/>
          <pc:sldMk cId="4112429752" sldId="2147472047"/>
        </pc:sldMkLst>
        <pc:spChg chg="mod ord">
          <ac:chgData name="Brito Cortés, Sofía Constanza" userId="bc780694-5ad3-4b43-9d08-68ceeeeb3a92" providerId="ADAL" clId="{78668647-0E4E-4D51-9C0E-13926B4FF229}" dt="2023-07-13T14:46:40.458" v="3668"/>
          <ac:spMkLst>
            <pc:docMk/>
            <pc:sldMk cId="4112429752" sldId="2147472047"/>
            <ac:spMk id="2" creationId="{A1A99D6D-FBC5-1F79-80B1-A94A520EBB19}"/>
          </ac:spMkLst>
        </pc:spChg>
        <pc:spChg chg="mod ord">
          <ac:chgData name="Brito Cortés, Sofía Constanza" userId="bc780694-5ad3-4b43-9d08-68ceeeeb3a92" providerId="ADAL" clId="{78668647-0E4E-4D51-9C0E-13926B4FF229}" dt="2023-07-13T15:41:51.668" v="5503" actId="14100"/>
          <ac:spMkLst>
            <pc:docMk/>
            <pc:sldMk cId="4112429752" sldId="2147472047"/>
            <ac:spMk id="3" creationId="{2B058712-AE2A-17B3-7F91-02EE988E916E}"/>
          </ac:spMkLst>
        </pc:spChg>
        <pc:spChg chg="add del mod modVis">
          <ac:chgData name="Brito Cortés, Sofía Constanza" userId="bc780694-5ad3-4b43-9d08-68ceeeeb3a92" providerId="ADAL" clId="{78668647-0E4E-4D51-9C0E-13926B4FF229}" dt="2023-07-13T14:46:06.053" v="2785"/>
          <ac:spMkLst>
            <pc:docMk/>
            <pc:sldMk cId="4112429752" sldId="2147472047"/>
            <ac:spMk id="4" creationId="{8F8E35D4-0A3D-7D39-B911-8AF747E6651F}"/>
          </ac:spMkLst>
        </pc:spChg>
        <pc:spChg chg="mod">
          <ac:chgData name="Brito Cortés, Sofía Constanza" userId="bc780694-5ad3-4b43-9d08-68ceeeeb3a92" providerId="ADAL" clId="{78668647-0E4E-4D51-9C0E-13926B4FF229}" dt="2023-07-13T14:46:40.466" v="3692"/>
          <ac:spMkLst>
            <pc:docMk/>
            <pc:sldMk cId="4112429752" sldId="2147472047"/>
            <ac:spMk id="11" creationId="{9B3A2052-7C2B-1132-8D43-9FEB85219D64}"/>
          </ac:spMkLst>
        </pc:spChg>
        <pc:spChg chg="mod">
          <ac:chgData name="Brito Cortés, Sofía Constanza" userId="bc780694-5ad3-4b43-9d08-68ceeeeb3a92" providerId="ADAL" clId="{78668647-0E4E-4D51-9C0E-13926B4FF229}" dt="2023-07-13T14:46:40.464" v="3686"/>
          <ac:spMkLst>
            <pc:docMk/>
            <pc:sldMk cId="4112429752" sldId="2147472047"/>
            <ac:spMk id="12" creationId="{568851F3-4012-F75C-19F7-F7268197D3F7}"/>
          </ac:spMkLst>
        </pc:spChg>
        <pc:spChg chg="mod">
          <ac:chgData name="Brito Cortés, Sofía Constanza" userId="bc780694-5ad3-4b43-9d08-68ceeeeb3a92" providerId="ADAL" clId="{78668647-0E4E-4D51-9C0E-13926B4FF229}" dt="2023-07-13T14:46:40.464" v="3687"/>
          <ac:spMkLst>
            <pc:docMk/>
            <pc:sldMk cId="4112429752" sldId="2147472047"/>
            <ac:spMk id="13" creationId="{C3A9D536-CA42-FFBA-8234-1B3937FE3B68}"/>
          </ac:spMkLst>
        </pc:spChg>
        <pc:spChg chg="mod">
          <ac:chgData name="Brito Cortés, Sofía Constanza" userId="bc780694-5ad3-4b43-9d08-68ceeeeb3a92" providerId="ADAL" clId="{78668647-0E4E-4D51-9C0E-13926B4FF229}" dt="2023-07-13T14:46:40.465" v="3689"/>
          <ac:spMkLst>
            <pc:docMk/>
            <pc:sldMk cId="4112429752" sldId="2147472047"/>
            <ac:spMk id="14" creationId="{B2310BA7-549D-DD35-CACB-8A211254C873}"/>
          </ac:spMkLst>
        </pc:spChg>
        <pc:spChg chg="mod">
          <ac:chgData name="Brito Cortés, Sofía Constanza" userId="bc780694-5ad3-4b43-9d08-68ceeeeb3a92" providerId="ADAL" clId="{78668647-0E4E-4D51-9C0E-13926B4FF229}" dt="2023-07-13T14:46:40.471" v="3705"/>
          <ac:spMkLst>
            <pc:docMk/>
            <pc:sldMk cId="4112429752" sldId="2147472047"/>
            <ac:spMk id="15" creationId="{2B8D8946-9C9B-1AA1-6D69-2A6CC3201EB5}"/>
          </ac:spMkLst>
        </pc:spChg>
        <pc:spChg chg="mod ord">
          <ac:chgData name="Brito Cortés, Sofía Constanza" userId="bc780694-5ad3-4b43-9d08-68ceeeeb3a92" providerId="ADAL" clId="{78668647-0E4E-4D51-9C0E-13926B4FF229}" dt="2023-07-13T14:46:40.463" v="3683"/>
          <ac:spMkLst>
            <pc:docMk/>
            <pc:sldMk cId="4112429752" sldId="2147472047"/>
            <ac:spMk id="16" creationId="{DA8125F0-A453-603D-AC5A-038F78701EFA}"/>
          </ac:spMkLst>
        </pc:spChg>
        <pc:spChg chg="mod">
          <ac:chgData name="Brito Cortés, Sofía Constanza" userId="bc780694-5ad3-4b43-9d08-68ceeeeb3a92" providerId="ADAL" clId="{78668647-0E4E-4D51-9C0E-13926B4FF229}" dt="2023-07-13T14:46:40.462" v="3682"/>
          <ac:spMkLst>
            <pc:docMk/>
            <pc:sldMk cId="4112429752" sldId="2147472047"/>
            <ac:spMk id="17" creationId="{22529640-FB0D-C767-E0FD-31A7CC131902}"/>
          </ac:spMkLst>
        </pc:spChg>
        <pc:spChg chg="mod">
          <ac:chgData name="Brito Cortés, Sofía Constanza" userId="bc780694-5ad3-4b43-9d08-68ceeeeb3a92" providerId="ADAL" clId="{78668647-0E4E-4D51-9C0E-13926B4FF229}" dt="2023-07-13T14:46:40.463" v="3684"/>
          <ac:spMkLst>
            <pc:docMk/>
            <pc:sldMk cId="4112429752" sldId="2147472047"/>
            <ac:spMk id="18" creationId="{11A83897-26BA-B6C2-0D3E-AF9662A49A77}"/>
          </ac:spMkLst>
        </pc:spChg>
        <pc:spChg chg="mod">
          <ac:chgData name="Brito Cortés, Sofía Constanza" userId="bc780694-5ad3-4b43-9d08-68ceeeeb3a92" providerId="ADAL" clId="{78668647-0E4E-4D51-9C0E-13926B4FF229}" dt="2023-07-13T14:46:40.465" v="3688"/>
          <ac:spMkLst>
            <pc:docMk/>
            <pc:sldMk cId="4112429752" sldId="2147472047"/>
            <ac:spMk id="19" creationId="{3E1663B2-7ABD-0553-9744-88C915E4576A}"/>
          </ac:spMkLst>
        </pc:spChg>
        <pc:spChg chg="mod">
          <ac:chgData name="Brito Cortés, Sofía Constanza" userId="bc780694-5ad3-4b43-9d08-68ceeeeb3a92" providerId="ADAL" clId="{78668647-0E4E-4D51-9C0E-13926B4FF229}" dt="2023-07-13T14:46:40.463" v="3685"/>
          <ac:spMkLst>
            <pc:docMk/>
            <pc:sldMk cId="4112429752" sldId="2147472047"/>
            <ac:spMk id="20" creationId="{DBEB1A78-1877-1DB9-7E54-FE29CB3493A0}"/>
          </ac:spMkLst>
        </pc:spChg>
        <pc:spChg chg="mod">
          <ac:chgData name="Brito Cortés, Sofía Constanza" userId="bc780694-5ad3-4b43-9d08-68ceeeeb3a92" providerId="ADAL" clId="{78668647-0E4E-4D51-9C0E-13926B4FF229}" dt="2023-07-13T14:46:40.465" v="3690"/>
          <ac:spMkLst>
            <pc:docMk/>
            <pc:sldMk cId="4112429752" sldId="2147472047"/>
            <ac:spMk id="21" creationId="{1243E8EE-382E-4AD7-5671-373677B5D930}"/>
          </ac:spMkLst>
        </pc:spChg>
        <pc:spChg chg="mod">
          <ac:chgData name="Brito Cortés, Sofía Constanza" userId="bc780694-5ad3-4b43-9d08-68ceeeeb3a92" providerId="ADAL" clId="{78668647-0E4E-4D51-9C0E-13926B4FF229}" dt="2023-07-13T14:46:40.466" v="3691"/>
          <ac:spMkLst>
            <pc:docMk/>
            <pc:sldMk cId="4112429752" sldId="2147472047"/>
            <ac:spMk id="22" creationId="{8CEAEBB5-4390-191D-CE21-A5D679EC1CC5}"/>
          </ac:spMkLst>
        </pc:spChg>
        <pc:spChg chg="mod">
          <ac:chgData name="Brito Cortés, Sofía Constanza" userId="bc780694-5ad3-4b43-9d08-68ceeeeb3a92" providerId="ADAL" clId="{78668647-0E4E-4D51-9C0E-13926B4FF229}" dt="2023-07-13T14:46:40.466" v="3693"/>
          <ac:spMkLst>
            <pc:docMk/>
            <pc:sldMk cId="4112429752" sldId="2147472047"/>
            <ac:spMk id="23" creationId="{4FF3B23F-04BF-8455-8210-31537FE94338}"/>
          </ac:spMkLst>
        </pc:spChg>
        <pc:spChg chg="mod">
          <ac:chgData name="Brito Cortés, Sofía Constanza" userId="bc780694-5ad3-4b43-9d08-68ceeeeb3a92" providerId="ADAL" clId="{78668647-0E4E-4D51-9C0E-13926B4FF229}" dt="2023-07-13T14:46:40.467" v="3694"/>
          <ac:spMkLst>
            <pc:docMk/>
            <pc:sldMk cId="4112429752" sldId="2147472047"/>
            <ac:spMk id="24" creationId="{C0BECB80-30C2-F89E-ED45-9D53C277CE9C}"/>
          </ac:spMkLst>
        </pc:spChg>
        <pc:spChg chg="mod">
          <ac:chgData name="Brito Cortés, Sofía Constanza" userId="bc780694-5ad3-4b43-9d08-68ceeeeb3a92" providerId="ADAL" clId="{78668647-0E4E-4D51-9C0E-13926B4FF229}" dt="2023-07-13T14:46:40.467" v="3695"/>
          <ac:spMkLst>
            <pc:docMk/>
            <pc:sldMk cId="4112429752" sldId="2147472047"/>
            <ac:spMk id="25" creationId="{2AE3DF99-3362-A844-52F5-4B9DA348626E}"/>
          </ac:spMkLst>
        </pc:spChg>
        <pc:spChg chg="mod">
          <ac:chgData name="Brito Cortés, Sofía Constanza" userId="bc780694-5ad3-4b43-9d08-68ceeeeb3a92" providerId="ADAL" clId="{78668647-0E4E-4D51-9C0E-13926B4FF229}" dt="2023-07-13T14:46:40.467" v="3696"/>
          <ac:spMkLst>
            <pc:docMk/>
            <pc:sldMk cId="4112429752" sldId="2147472047"/>
            <ac:spMk id="26" creationId="{ACF4148B-BA2F-0DB0-8D71-18CB069ACAEF}"/>
          </ac:spMkLst>
        </pc:spChg>
        <pc:spChg chg="mod">
          <ac:chgData name="Brito Cortés, Sofía Constanza" userId="bc780694-5ad3-4b43-9d08-68ceeeeb3a92" providerId="ADAL" clId="{78668647-0E4E-4D51-9C0E-13926B4FF229}" dt="2023-07-13T14:46:40.468" v="3698"/>
          <ac:spMkLst>
            <pc:docMk/>
            <pc:sldMk cId="4112429752" sldId="2147472047"/>
            <ac:spMk id="27" creationId="{D76D2B32-0177-78DD-2FE7-251BB015B7E2}"/>
          </ac:spMkLst>
        </pc:spChg>
        <pc:spChg chg="mod">
          <ac:chgData name="Brito Cortés, Sofía Constanza" userId="bc780694-5ad3-4b43-9d08-68ceeeeb3a92" providerId="ADAL" clId="{78668647-0E4E-4D51-9C0E-13926B4FF229}" dt="2023-07-13T14:46:40.468" v="3699"/>
          <ac:spMkLst>
            <pc:docMk/>
            <pc:sldMk cId="4112429752" sldId="2147472047"/>
            <ac:spMk id="28" creationId="{9837B9EF-2AB0-EFCF-D2BA-A90BC4C73043}"/>
          </ac:spMkLst>
        </pc:spChg>
        <pc:spChg chg="mod">
          <ac:chgData name="Brito Cortés, Sofía Constanza" userId="bc780694-5ad3-4b43-9d08-68ceeeeb3a92" providerId="ADAL" clId="{78668647-0E4E-4D51-9C0E-13926B4FF229}" dt="2023-07-13T14:46:40.468" v="3697"/>
          <ac:spMkLst>
            <pc:docMk/>
            <pc:sldMk cId="4112429752" sldId="2147472047"/>
            <ac:spMk id="29" creationId="{67F17703-0039-F4CF-3B02-854819A48F5D}"/>
          </ac:spMkLst>
        </pc:spChg>
        <pc:spChg chg="mod">
          <ac:chgData name="Brito Cortés, Sofía Constanza" userId="bc780694-5ad3-4b43-9d08-68ceeeeb3a92" providerId="ADAL" clId="{78668647-0E4E-4D51-9C0E-13926B4FF229}" dt="2023-07-13T14:46:40.469" v="3700"/>
          <ac:spMkLst>
            <pc:docMk/>
            <pc:sldMk cId="4112429752" sldId="2147472047"/>
            <ac:spMk id="30" creationId="{39CCEF68-CC70-683C-5298-38B9E999CD7F}"/>
          </ac:spMkLst>
        </pc:spChg>
        <pc:spChg chg="mod">
          <ac:chgData name="Brito Cortés, Sofía Constanza" userId="bc780694-5ad3-4b43-9d08-68ceeeeb3a92" providerId="ADAL" clId="{78668647-0E4E-4D51-9C0E-13926B4FF229}" dt="2023-07-13T14:46:40.469" v="3701"/>
          <ac:spMkLst>
            <pc:docMk/>
            <pc:sldMk cId="4112429752" sldId="2147472047"/>
            <ac:spMk id="31" creationId="{D3019188-B777-DDA0-63A1-736C7B1789A0}"/>
          </ac:spMkLst>
        </pc:spChg>
        <pc:spChg chg="mod">
          <ac:chgData name="Brito Cortés, Sofía Constanza" userId="bc780694-5ad3-4b43-9d08-68ceeeeb3a92" providerId="ADAL" clId="{78668647-0E4E-4D51-9C0E-13926B4FF229}" dt="2023-07-13T14:46:40.470" v="3702"/>
          <ac:spMkLst>
            <pc:docMk/>
            <pc:sldMk cId="4112429752" sldId="2147472047"/>
            <ac:spMk id="32" creationId="{FBBD7066-D519-F436-7AC9-0C8693438E6D}"/>
          </ac:spMkLst>
        </pc:spChg>
        <pc:spChg chg="mod">
          <ac:chgData name="Brito Cortés, Sofía Constanza" userId="bc780694-5ad3-4b43-9d08-68ceeeeb3a92" providerId="ADAL" clId="{78668647-0E4E-4D51-9C0E-13926B4FF229}" dt="2023-07-13T14:46:40.470" v="3703"/>
          <ac:spMkLst>
            <pc:docMk/>
            <pc:sldMk cId="4112429752" sldId="2147472047"/>
            <ac:spMk id="33" creationId="{00D8E201-B958-268A-BC92-321E25B63352}"/>
          </ac:spMkLst>
        </pc:spChg>
        <pc:spChg chg="mod">
          <ac:chgData name="Brito Cortés, Sofía Constanza" userId="bc780694-5ad3-4b43-9d08-68ceeeeb3a92" providerId="ADAL" clId="{78668647-0E4E-4D51-9C0E-13926B4FF229}" dt="2023-07-13T14:46:40.470" v="3704"/>
          <ac:spMkLst>
            <pc:docMk/>
            <pc:sldMk cId="4112429752" sldId="2147472047"/>
            <ac:spMk id="34" creationId="{8D51E5C2-A97B-E4E8-21FE-CFF731127E5D}"/>
          </ac:spMkLst>
        </pc:spChg>
        <pc:spChg chg="mod ord">
          <ac:chgData name="Brito Cortés, Sofía Constanza" userId="bc780694-5ad3-4b43-9d08-68ceeeeb3a92" providerId="ADAL" clId="{78668647-0E4E-4D51-9C0E-13926B4FF229}" dt="2023-07-13T14:46:40.472" v="3709"/>
          <ac:spMkLst>
            <pc:docMk/>
            <pc:sldMk cId="4112429752" sldId="2147472047"/>
            <ac:spMk id="35" creationId="{9F1C12AB-E41E-C908-C55C-78AAA4262DBB}"/>
          </ac:spMkLst>
        </pc:spChg>
        <pc:spChg chg="mod ord">
          <ac:chgData name="Brito Cortés, Sofía Constanza" userId="bc780694-5ad3-4b43-9d08-68ceeeeb3a92" providerId="ADAL" clId="{78668647-0E4E-4D51-9C0E-13926B4FF229}" dt="2023-07-13T14:46:40.472" v="3707"/>
          <ac:spMkLst>
            <pc:docMk/>
            <pc:sldMk cId="4112429752" sldId="2147472047"/>
            <ac:spMk id="36" creationId="{CA32EEFE-D9E9-6679-6249-36157FF6AF24}"/>
          </ac:spMkLst>
        </pc:spChg>
        <pc:spChg chg="mod">
          <ac:chgData name="Brito Cortés, Sofía Constanza" userId="bc780694-5ad3-4b43-9d08-68ceeeeb3a92" providerId="ADAL" clId="{78668647-0E4E-4D51-9C0E-13926B4FF229}" dt="2023-07-13T14:46:40.473" v="3711"/>
          <ac:spMkLst>
            <pc:docMk/>
            <pc:sldMk cId="4112429752" sldId="2147472047"/>
            <ac:spMk id="37" creationId="{F1FCB6E9-025E-A8A7-C2CD-8080D80AFE60}"/>
          </ac:spMkLst>
        </pc:spChg>
        <pc:spChg chg="mod">
          <ac:chgData name="Brito Cortés, Sofía Constanza" userId="bc780694-5ad3-4b43-9d08-68ceeeeb3a92" providerId="ADAL" clId="{78668647-0E4E-4D51-9C0E-13926B4FF229}" dt="2023-07-13T14:46:40.473" v="3710"/>
          <ac:spMkLst>
            <pc:docMk/>
            <pc:sldMk cId="4112429752" sldId="2147472047"/>
            <ac:spMk id="38" creationId="{71492B7F-0DD7-5325-9300-4A5FA6D0FBED}"/>
          </ac:spMkLst>
        </pc:spChg>
        <pc:spChg chg="mod ord">
          <ac:chgData name="Brito Cortés, Sofía Constanza" userId="bc780694-5ad3-4b43-9d08-68ceeeeb3a92" providerId="ADAL" clId="{78668647-0E4E-4D51-9C0E-13926B4FF229}" dt="2023-07-13T14:46:40.475" v="3713"/>
          <ac:spMkLst>
            <pc:docMk/>
            <pc:sldMk cId="4112429752" sldId="2147472047"/>
            <ac:spMk id="39" creationId="{63451686-AF3E-42C7-2405-C4D4344381F5}"/>
          </ac:spMkLst>
        </pc:spChg>
        <pc:spChg chg="mod ord">
          <ac:chgData name="Brito Cortés, Sofía Constanza" userId="bc780694-5ad3-4b43-9d08-68ceeeeb3a92" providerId="ADAL" clId="{78668647-0E4E-4D51-9C0E-13926B4FF229}" dt="2023-07-13T14:46:40.475" v="3715"/>
          <ac:spMkLst>
            <pc:docMk/>
            <pc:sldMk cId="4112429752" sldId="2147472047"/>
            <ac:spMk id="40" creationId="{05CB738D-5573-9F27-29DA-0D6D65E03D68}"/>
          </ac:spMkLst>
        </pc:spChg>
        <pc:spChg chg="mod ord">
          <ac:chgData name="Brito Cortés, Sofía Constanza" userId="bc780694-5ad3-4b43-9d08-68ceeeeb3a92" providerId="ADAL" clId="{78668647-0E4E-4D51-9C0E-13926B4FF229}" dt="2023-07-13T14:46:40.475" v="3717"/>
          <ac:spMkLst>
            <pc:docMk/>
            <pc:sldMk cId="4112429752" sldId="2147472047"/>
            <ac:spMk id="41" creationId="{3C6B45F3-C845-E737-59F3-16FCCE75AB0F}"/>
          </ac:spMkLst>
        </pc:spChg>
        <pc:spChg chg="mod ord">
          <ac:chgData name="Brito Cortés, Sofía Constanza" userId="bc780694-5ad3-4b43-9d08-68ceeeeb3a92" providerId="ADAL" clId="{78668647-0E4E-4D51-9C0E-13926B4FF229}" dt="2023-07-13T14:46:40.476" v="3719"/>
          <ac:spMkLst>
            <pc:docMk/>
            <pc:sldMk cId="4112429752" sldId="2147472047"/>
            <ac:spMk id="42" creationId="{9D6E9A75-686A-206A-FCA2-E0F84EEADB32}"/>
          </ac:spMkLst>
        </pc:spChg>
        <pc:spChg chg="mod ord">
          <ac:chgData name="Brito Cortés, Sofía Constanza" userId="bc780694-5ad3-4b43-9d08-68ceeeeb3a92" providerId="ADAL" clId="{78668647-0E4E-4D51-9C0E-13926B4FF229}" dt="2023-07-13T14:46:40.476" v="3721"/>
          <ac:spMkLst>
            <pc:docMk/>
            <pc:sldMk cId="4112429752" sldId="2147472047"/>
            <ac:spMk id="43" creationId="{9D0C83B1-F5FF-0319-3088-D912C83C984C}"/>
          </ac:spMkLst>
        </pc:spChg>
        <pc:spChg chg="mod ord">
          <ac:chgData name="Brito Cortés, Sofía Constanza" userId="bc780694-5ad3-4b43-9d08-68ceeeeb3a92" providerId="ADAL" clId="{78668647-0E4E-4D51-9C0E-13926B4FF229}" dt="2023-07-13T14:46:40.477" v="3723"/>
          <ac:spMkLst>
            <pc:docMk/>
            <pc:sldMk cId="4112429752" sldId="2147472047"/>
            <ac:spMk id="44" creationId="{23AF473A-64C2-E105-32C4-BC952D1100D3}"/>
          </ac:spMkLst>
        </pc:spChg>
        <pc:spChg chg="mod ord">
          <ac:chgData name="Brito Cortés, Sofía Constanza" userId="bc780694-5ad3-4b43-9d08-68ceeeeb3a92" providerId="ADAL" clId="{78668647-0E4E-4D51-9C0E-13926B4FF229}" dt="2023-07-13T14:46:40.477" v="3725"/>
          <ac:spMkLst>
            <pc:docMk/>
            <pc:sldMk cId="4112429752" sldId="2147472047"/>
            <ac:spMk id="45" creationId="{6AA9ED44-4BE7-4FAC-0B52-3053341D587F}"/>
          </ac:spMkLst>
        </pc:spChg>
        <pc:spChg chg="mod ord">
          <ac:chgData name="Brito Cortés, Sofía Constanza" userId="bc780694-5ad3-4b43-9d08-68ceeeeb3a92" providerId="ADAL" clId="{78668647-0E4E-4D51-9C0E-13926B4FF229}" dt="2023-07-13T14:46:40.478" v="3727"/>
          <ac:spMkLst>
            <pc:docMk/>
            <pc:sldMk cId="4112429752" sldId="2147472047"/>
            <ac:spMk id="46" creationId="{53AABDB7-3875-62D7-6E4E-100D4DEF68AF}"/>
          </ac:spMkLst>
        </pc:spChg>
        <pc:spChg chg="mod ord">
          <ac:chgData name="Brito Cortés, Sofía Constanza" userId="bc780694-5ad3-4b43-9d08-68ceeeeb3a92" providerId="ADAL" clId="{78668647-0E4E-4D51-9C0E-13926B4FF229}" dt="2023-07-13T14:46:40.479" v="3729"/>
          <ac:spMkLst>
            <pc:docMk/>
            <pc:sldMk cId="4112429752" sldId="2147472047"/>
            <ac:spMk id="47" creationId="{6939A5A2-30A9-7803-A92F-81503D5220A6}"/>
          </ac:spMkLst>
        </pc:spChg>
        <pc:spChg chg="mod ord">
          <ac:chgData name="Brito Cortés, Sofía Constanza" userId="bc780694-5ad3-4b43-9d08-68ceeeeb3a92" providerId="ADAL" clId="{78668647-0E4E-4D51-9C0E-13926B4FF229}" dt="2023-07-13T14:46:40.479" v="3731"/>
          <ac:spMkLst>
            <pc:docMk/>
            <pc:sldMk cId="4112429752" sldId="2147472047"/>
            <ac:spMk id="48" creationId="{0F2C7FCA-D284-FF3F-9DDD-2E9392046EC6}"/>
          </ac:spMkLst>
        </pc:spChg>
        <pc:spChg chg="mod ord">
          <ac:chgData name="Brito Cortés, Sofía Constanza" userId="bc780694-5ad3-4b43-9d08-68ceeeeb3a92" providerId="ADAL" clId="{78668647-0E4E-4D51-9C0E-13926B4FF229}" dt="2023-07-13T14:46:40.480" v="3733"/>
          <ac:spMkLst>
            <pc:docMk/>
            <pc:sldMk cId="4112429752" sldId="2147472047"/>
            <ac:spMk id="49" creationId="{773CF904-C2A9-C27C-1CFC-04CAA1D8F512}"/>
          </ac:spMkLst>
        </pc:spChg>
        <pc:spChg chg="mod ord">
          <ac:chgData name="Brito Cortés, Sofía Constanza" userId="bc780694-5ad3-4b43-9d08-68ceeeeb3a92" providerId="ADAL" clId="{78668647-0E4E-4D51-9C0E-13926B4FF229}" dt="2023-07-13T14:46:40.480" v="3735"/>
          <ac:spMkLst>
            <pc:docMk/>
            <pc:sldMk cId="4112429752" sldId="2147472047"/>
            <ac:spMk id="50" creationId="{769705C2-B416-A5F0-E408-FC1A4D29AE2B}"/>
          </ac:spMkLst>
        </pc:spChg>
        <pc:spChg chg="mod ord">
          <ac:chgData name="Brito Cortés, Sofía Constanza" userId="bc780694-5ad3-4b43-9d08-68ceeeeb3a92" providerId="ADAL" clId="{78668647-0E4E-4D51-9C0E-13926B4FF229}" dt="2023-07-13T14:46:40.480" v="3737"/>
          <ac:spMkLst>
            <pc:docMk/>
            <pc:sldMk cId="4112429752" sldId="2147472047"/>
            <ac:spMk id="51" creationId="{1B5A1FED-98DD-912F-B27D-667038B07C18}"/>
          </ac:spMkLst>
        </pc:spChg>
        <pc:spChg chg="mod ord">
          <ac:chgData name="Brito Cortés, Sofía Constanza" userId="bc780694-5ad3-4b43-9d08-68ceeeeb3a92" providerId="ADAL" clId="{78668647-0E4E-4D51-9C0E-13926B4FF229}" dt="2023-07-13T14:46:40.481" v="3739"/>
          <ac:spMkLst>
            <pc:docMk/>
            <pc:sldMk cId="4112429752" sldId="2147472047"/>
            <ac:spMk id="52" creationId="{177FB5D2-3822-966D-C16A-0ABD93C5F824}"/>
          </ac:spMkLst>
        </pc:spChg>
        <pc:spChg chg="mod ord">
          <ac:chgData name="Brito Cortés, Sofía Constanza" userId="bc780694-5ad3-4b43-9d08-68ceeeeb3a92" providerId="ADAL" clId="{78668647-0E4E-4D51-9C0E-13926B4FF229}" dt="2023-07-13T14:46:40.481" v="3741"/>
          <ac:spMkLst>
            <pc:docMk/>
            <pc:sldMk cId="4112429752" sldId="2147472047"/>
            <ac:spMk id="53" creationId="{FF4BAB4C-AAEF-56F2-ED43-12A03C34F46E}"/>
          </ac:spMkLst>
        </pc:spChg>
        <pc:spChg chg="mod ord">
          <ac:chgData name="Brito Cortés, Sofía Constanza" userId="bc780694-5ad3-4b43-9d08-68ceeeeb3a92" providerId="ADAL" clId="{78668647-0E4E-4D51-9C0E-13926B4FF229}" dt="2023-07-13T14:46:40.483" v="3745"/>
          <ac:spMkLst>
            <pc:docMk/>
            <pc:sldMk cId="4112429752" sldId="2147472047"/>
            <ac:spMk id="55" creationId="{763F8062-6062-D8BE-022E-CAC9D5DD07B3}"/>
          </ac:spMkLst>
        </pc:spChg>
        <pc:spChg chg="mod ord">
          <ac:chgData name="Brito Cortés, Sofía Constanza" userId="bc780694-5ad3-4b43-9d08-68ceeeeb3a92" providerId="ADAL" clId="{78668647-0E4E-4D51-9C0E-13926B4FF229}" dt="2023-07-13T14:46:40.483" v="3747"/>
          <ac:spMkLst>
            <pc:docMk/>
            <pc:sldMk cId="4112429752" sldId="2147472047"/>
            <ac:spMk id="56" creationId="{BFF64D7F-8FEC-033B-CC3A-CD69DAE2A982}"/>
          </ac:spMkLst>
        </pc:spChg>
        <pc:spChg chg="mod ord">
          <ac:chgData name="Brito Cortés, Sofía Constanza" userId="bc780694-5ad3-4b43-9d08-68ceeeeb3a92" providerId="ADAL" clId="{78668647-0E4E-4D51-9C0E-13926B4FF229}" dt="2023-07-13T14:46:40.484" v="3749"/>
          <ac:spMkLst>
            <pc:docMk/>
            <pc:sldMk cId="4112429752" sldId="2147472047"/>
            <ac:spMk id="57" creationId="{E3BF66F3-BA5C-8614-DAFE-9F52318C2C3C}"/>
          </ac:spMkLst>
        </pc:spChg>
        <pc:spChg chg="mod ord">
          <ac:chgData name="Brito Cortés, Sofía Constanza" userId="bc780694-5ad3-4b43-9d08-68ceeeeb3a92" providerId="ADAL" clId="{78668647-0E4E-4D51-9C0E-13926B4FF229}" dt="2023-07-13T14:46:40.484" v="3751"/>
          <ac:spMkLst>
            <pc:docMk/>
            <pc:sldMk cId="4112429752" sldId="2147472047"/>
            <ac:spMk id="58" creationId="{6CD15EA4-7E01-6365-6A0E-3670FFF4C96F}"/>
          </ac:spMkLst>
        </pc:spChg>
        <pc:spChg chg="mod ord">
          <ac:chgData name="Brito Cortés, Sofía Constanza" userId="bc780694-5ad3-4b43-9d08-68ceeeeb3a92" providerId="ADAL" clId="{78668647-0E4E-4D51-9C0E-13926B4FF229}" dt="2023-07-13T14:46:40.485" v="3753"/>
          <ac:spMkLst>
            <pc:docMk/>
            <pc:sldMk cId="4112429752" sldId="2147472047"/>
            <ac:spMk id="59" creationId="{7DA8CF12-E086-0146-CD28-FF7A063E116E}"/>
          </ac:spMkLst>
        </pc:spChg>
        <pc:spChg chg="mod ord">
          <ac:chgData name="Brito Cortés, Sofía Constanza" userId="bc780694-5ad3-4b43-9d08-68ceeeeb3a92" providerId="ADAL" clId="{78668647-0E4E-4D51-9C0E-13926B4FF229}" dt="2023-07-13T14:46:40.486" v="3755"/>
          <ac:spMkLst>
            <pc:docMk/>
            <pc:sldMk cId="4112429752" sldId="2147472047"/>
            <ac:spMk id="60" creationId="{07223135-6162-403F-CD27-6FDA5DD6E1DD}"/>
          </ac:spMkLst>
        </pc:spChg>
        <pc:spChg chg="mod ord">
          <ac:chgData name="Brito Cortés, Sofía Constanza" userId="bc780694-5ad3-4b43-9d08-68ceeeeb3a92" providerId="ADAL" clId="{78668647-0E4E-4D51-9C0E-13926B4FF229}" dt="2023-07-13T14:46:40.486" v="3757"/>
          <ac:spMkLst>
            <pc:docMk/>
            <pc:sldMk cId="4112429752" sldId="2147472047"/>
            <ac:spMk id="61" creationId="{BDC8FC60-1E2D-7865-7FCE-8A0591473161}"/>
          </ac:spMkLst>
        </pc:spChg>
        <pc:spChg chg="mod ord">
          <ac:chgData name="Brito Cortés, Sofía Constanza" userId="bc780694-5ad3-4b43-9d08-68ceeeeb3a92" providerId="ADAL" clId="{78668647-0E4E-4D51-9C0E-13926B4FF229}" dt="2023-07-13T14:46:40.487" v="3759"/>
          <ac:spMkLst>
            <pc:docMk/>
            <pc:sldMk cId="4112429752" sldId="2147472047"/>
            <ac:spMk id="62" creationId="{5951DD4D-045A-31CD-8D09-4AE6E333FD61}"/>
          </ac:spMkLst>
        </pc:spChg>
        <pc:spChg chg="mod ord">
          <ac:chgData name="Brito Cortés, Sofía Constanza" userId="bc780694-5ad3-4b43-9d08-68ceeeeb3a92" providerId="ADAL" clId="{78668647-0E4E-4D51-9C0E-13926B4FF229}" dt="2023-07-13T15:42:03.361" v="5505" actId="14100"/>
          <ac:spMkLst>
            <pc:docMk/>
            <pc:sldMk cId="4112429752" sldId="2147472047"/>
            <ac:spMk id="63" creationId="{93D9DC97-EA27-E0C5-6EE0-4EBC9A81AE6C}"/>
          </ac:spMkLst>
        </pc:spChg>
        <pc:spChg chg="mod ord">
          <ac:chgData name="Brito Cortés, Sofía Constanza" userId="bc780694-5ad3-4b43-9d08-68ceeeeb3a92" providerId="ADAL" clId="{78668647-0E4E-4D51-9C0E-13926B4FF229}" dt="2023-07-13T14:46:40.488" v="3763"/>
          <ac:spMkLst>
            <pc:docMk/>
            <pc:sldMk cId="4112429752" sldId="2147472047"/>
            <ac:spMk id="70" creationId="{431CD7B2-7D0D-4489-A2C8-B60F241ECE2D}"/>
          </ac:spMkLst>
        </pc:spChg>
        <pc:spChg chg="add del mod">
          <ac:chgData name="Brito Cortés, Sofía Constanza" userId="bc780694-5ad3-4b43-9d08-68ceeeeb3a92" providerId="ADAL" clId="{78668647-0E4E-4D51-9C0E-13926B4FF229}" dt="2023-07-13T15:41:55.436" v="5504" actId="478"/>
          <ac:spMkLst>
            <pc:docMk/>
            <pc:sldMk cId="4112429752" sldId="2147472047"/>
            <ac:spMk id="75" creationId="{E790F6A9-CB26-E6D9-4B5B-3A4B7FEEF0E6}"/>
          </ac:spMkLst>
        </pc:spChg>
        <pc:graphicFrameChg chg="add del mod replST">
          <ac:chgData name="Brito Cortés, Sofía Constanza" userId="bc780694-5ad3-4b43-9d08-68ceeeeb3a92" providerId="ADAL" clId="{78668647-0E4E-4D51-9C0E-13926B4FF229}" dt="2023-07-13T14:46:08.171" v="2815"/>
          <ac:graphicFrameMkLst>
            <pc:docMk/>
            <pc:sldMk cId="4112429752" sldId="2147472047"/>
            <ac:graphicFrameMk id="10" creationId="{32E616E1-8991-8121-D577-DC70E3C5D631}"/>
          </ac:graphicFrameMkLst>
        </pc:graphicFrameChg>
        <pc:graphicFrameChg chg="add del mod replST">
          <ac:chgData name="Brito Cortés, Sofía Constanza" userId="bc780694-5ad3-4b43-9d08-68ceeeeb3a92" providerId="ADAL" clId="{78668647-0E4E-4D51-9C0E-13926B4FF229}" dt="2023-07-13T14:46:09.508" v="2955"/>
          <ac:graphicFrameMkLst>
            <pc:docMk/>
            <pc:sldMk cId="4112429752" sldId="2147472047"/>
            <ac:graphicFrameMk id="64" creationId="{D5EE6BDA-46B9-B4C9-D09A-4DCEF2B39AEA}"/>
          </ac:graphicFrameMkLst>
        </pc:graphicFrameChg>
        <pc:graphicFrameChg chg="add del mod replST">
          <ac:chgData name="Brito Cortés, Sofía Constanza" userId="bc780694-5ad3-4b43-9d08-68ceeeeb3a92" providerId="ADAL" clId="{78668647-0E4E-4D51-9C0E-13926B4FF229}" dt="2023-07-13T14:46:16.930" v="3095"/>
          <ac:graphicFrameMkLst>
            <pc:docMk/>
            <pc:sldMk cId="4112429752" sldId="2147472047"/>
            <ac:graphicFrameMk id="65" creationId="{58202A23-3F76-B5D0-4EAE-7D2FC5AD51A4}"/>
          </ac:graphicFrameMkLst>
        </pc:graphicFrameChg>
        <pc:graphicFrameChg chg="add del mod replST">
          <ac:chgData name="Brito Cortés, Sofía Constanza" userId="bc780694-5ad3-4b43-9d08-68ceeeeb3a92" providerId="ADAL" clId="{78668647-0E4E-4D51-9C0E-13926B4FF229}" dt="2023-07-13T14:46:22.619" v="3237"/>
          <ac:graphicFrameMkLst>
            <pc:docMk/>
            <pc:sldMk cId="4112429752" sldId="2147472047"/>
            <ac:graphicFrameMk id="66" creationId="{E0D450DF-C6E0-DF18-468E-66B793107F0A}"/>
          </ac:graphicFrameMkLst>
        </pc:graphicFrameChg>
        <pc:graphicFrameChg chg="add del mod replST">
          <ac:chgData name="Brito Cortés, Sofía Constanza" userId="bc780694-5ad3-4b43-9d08-68ceeeeb3a92" providerId="ADAL" clId="{78668647-0E4E-4D51-9C0E-13926B4FF229}" dt="2023-07-13T14:46:28.840" v="3377"/>
          <ac:graphicFrameMkLst>
            <pc:docMk/>
            <pc:sldMk cId="4112429752" sldId="2147472047"/>
            <ac:graphicFrameMk id="67" creationId="{A34D8A3C-B7F7-84C0-BFB8-7F980DA45C53}"/>
          </ac:graphicFrameMkLst>
        </pc:graphicFrameChg>
        <pc:graphicFrameChg chg="add del mod replST">
          <ac:chgData name="Brito Cortés, Sofía Constanza" userId="bc780694-5ad3-4b43-9d08-68ceeeeb3a92" providerId="ADAL" clId="{78668647-0E4E-4D51-9C0E-13926B4FF229}" dt="2023-07-13T14:46:34.839" v="3519"/>
          <ac:graphicFrameMkLst>
            <pc:docMk/>
            <pc:sldMk cId="4112429752" sldId="2147472047"/>
            <ac:graphicFrameMk id="68" creationId="{A00996AC-7A64-B52D-9C5F-B0536004EB5E}"/>
          </ac:graphicFrameMkLst>
        </pc:graphicFrameChg>
        <pc:graphicFrameChg chg="add del mod replST">
          <ac:chgData name="Brito Cortés, Sofía Constanza" userId="bc780694-5ad3-4b43-9d08-68ceeeeb3a92" providerId="ADAL" clId="{78668647-0E4E-4D51-9C0E-13926B4FF229}" dt="2023-07-13T14:46:40.441" v="3658"/>
          <ac:graphicFrameMkLst>
            <pc:docMk/>
            <pc:sldMk cId="4112429752" sldId="2147472047"/>
            <ac:graphicFrameMk id="71" creationId="{2F411F7F-CAE9-D4E6-55B0-6BDF0196B14E}"/>
          </ac:graphicFrameMkLst>
        </pc:graphicFrameChg>
        <pc:graphicFrameChg chg="mod">
          <ac:chgData name="Brito Cortés, Sofía Constanza" userId="bc780694-5ad3-4b43-9d08-68ceeeeb3a92" providerId="ADAL" clId="{78668647-0E4E-4D51-9C0E-13926B4FF229}" dt="2023-07-13T14:46:40.491" v="3769"/>
          <ac:graphicFrameMkLst>
            <pc:docMk/>
            <pc:sldMk cId="4112429752" sldId="2147472047"/>
            <ac:graphicFrameMk id="72" creationId="{6B79C9EB-17DC-D15B-C3A4-6EAB4D2DA462}"/>
          </ac:graphicFrameMkLst>
        </pc:graphicFrameChg>
        <pc:graphicFrameChg chg="add mod replST">
          <ac:chgData name="Brito Cortés, Sofía Constanza" userId="bc780694-5ad3-4b43-9d08-68ceeeeb3a92" providerId="ADAL" clId="{78668647-0E4E-4D51-9C0E-13926B4FF229}" dt="2023-07-13T14:46:40.462" v="3681"/>
          <ac:graphicFrameMkLst>
            <pc:docMk/>
            <pc:sldMk cId="4112429752" sldId="2147472047"/>
            <ac:graphicFrameMk id="74" creationId="{3A8157B2-2E5B-E3C1-0ED0-CCD3901947F4}"/>
          </ac:graphicFrameMkLst>
        </pc:graphicFrameChg>
        <pc:graphicFrameChg chg="del">
          <ac:chgData name="Brito Cortés, Sofía Constanza" userId="bc780694-5ad3-4b43-9d08-68ceeeeb3a92" providerId="ADAL" clId="{78668647-0E4E-4D51-9C0E-13926B4FF229}" dt="2023-07-13T13:35:14.884" v="27"/>
          <ac:graphicFrameMkLst>
            <pc:docMk/>
            <pc:sldMk cId="4112429752" sldId="2147472047"/>
            <ac:graphicFrameMk id="76" creationId="{C9CB38C2-AC71-0B59-01BC-CBACA196ABDE}"/>
          </ac:graphicFrameMkLst>
        </pc:graphicFrameChg>
        <pc:graphicFrameChg chg="add del mod replST">
          <ac:chgData name="Brito Cortés, Sofía Constanza" userId="bc780694-5ad3-4b43-9d08-68ceeeeb3a92" providerId="ADAL" clId="{78668647-0E4E-4D51-9C0E-13926B4FF229}" dt="2023-07-13T13:35:20.329" v="173"/>
          <ac:graphicFrameMkLst>
            <pc:docMk/>
            <pc:sldMk cId="4112429752" sldId="2147472047"/>
            <ac:graphicFrameMk id="77" creationId="{5346B40C-8325-CA34-6F2A-D2B07B4B8198}"/>
          </ac:graphicFrameMkLst>
        </pc:graphicFrameChg>
        <pc:graphicFrameChg chg="add del mod replST">
          <ac:chgData name="Brito Cortés, Sofía Constanza" userId="bc780694-5ad3-4b43-9d08-68ceeeeb3a92" providerId="ADAL" clId="{78668647-0E4E-4D51-9C0E-13926B4FF229}" dt="2023-07-13T13:35:32.324" v="319"/>
          <ac:graphicFrameMkLst>
            <pc:docMk/>
            <pc:sldMk cId="4112429752" sldId="2147472047"/>
            <ac:graphicFrameMk id="78" creationId="{5FA29822-D3B5-7744-DF23-A4FD1F260ED4}"/>
          </ac:graphicFrameMkLst>
        </pc:graphicFrameChg>
        <pc:graphicFrameChg chg="add del mod replST">
          <ac:chgData name="Brito Cortés, Sofía Constanza" userId="bc780694-5ad3-4b43-9d08-68ceeeeb3a92" providerId="ADAL" clId="{78668647-0E4E-4D51-9C0E-13926B4FF229}" dt="2023-07-13T13:35:36.350" v="462"/>
          <ac:graphicFrameMkLst>
            <pc:docMk/>
            <pc:sldMk cId="4112429752" sldId="2147472047"/>
            <ac:graphicFrameMk id="79" creationId="{56572DF6-3700-5D10-76FC-D7CA425DE2E9}"/>
          </ac:graphicFrameMkLst>
        </pc:graphicFrameChg>
        <pc:graphicFrameChg chg="add del mod replST">
          <ac:chgData name="Brito Cortés, Sofía Constanza" userId="bc780694-5ad3-4b43-9d08-68ceeeeb3a92" providerId="ADAL" clId="{78668647-0E4E-4D51-9C0E-13926B4FF229}" dt="2023-07-13T13:35:42.434" v="601"/>
          <ac:graphicFrameMkLst>
            <pc:docMk/>
            <pc:sldMk cId="4112429752" sldId="2147472047"/>
            <ac:graphicFrameMk id="80" creationId="{1A4056BC-2992-D103-07F7-08B68D1EC3E3}"/>
          </ac:graphicFrameMkLst>
        </pc:graphicFrameChg>
        <pc:graphicFrameChg chg="add del mod replST">
          <ac:chgData name="Brito Cortés, Sofía Constanza" userId="bc780694-5ad3-4b43-9d08-68ceeeeb3a92" providerId="ADAL" clId="{78668647-0E4E-4D51-9C0E-13926B4FF229}" dt="2023-07-13T13:35:47.245" v="742"/>
          <ac:graphicFrameMkLst>
            <pc:docMk/>
            <pc:sldMk cId="4112429752" sldId="2147472047"/>
            <ac:graphicFrameMk id="81" creationId="{94BE7AB9-0929-2CA6-334E-E8B1BF0AD5D3}"/>
          </ac:graphicFrameMkLst>
        </pc:graphicFrameChg>
        <pc:graphicFrameChg chg="add del mod replST">
          <ac:chgData name="Brito Cortés, Sofía Constanza" userId="bc780694-5ad3-4b43-9d08-68ceeeeb3a92" providerId="ADAL" clId="{78668647-0E4E-4D51-9C0E-13926B4FF229}" dt="2023-07-13T13:35:52.986" v="884"/>
          <ac:graphicFrameMkLst>
            <pc:docMk/>
            <pc:sldMk cId="4112429752" sldId="2147472047"/>
            <ac:graphicFrameMk id="82" creationId="{8EEB8161-0156-472B-E6B2-72A5EAA7C726}"/>
          </ac:graphicFrameMkLst>
        </pc:graphicFrameChg>
        <pc:graphicFrameChg chg="add del mod replST">
          <ac:chgData name="Brito Cortés, Sofía Constanza" userId="bc780694-5ad3-4b43-9d08-68ceeeeb3a92" providerId="ADAL" clId="{78668647-0E4E-4D51-9C0E-13926B4FF229}" dt="2023-07-13T13:35:57.523" v="1024"/>
          <ac:graphicFrameMkLst>
            <pc:docMk/>
            <pc:sldMk cId="4112429752" sldId="2147472047"/>
            <ac:graphicFrameMk id="83" creationId="{37A09D1B-7A68-47DC-0534-CBD9219F2BC6}"/>
          </ac:graphicFrameMkLst>
        </pc:graphicFrameChg>
        <pc:graphicFrameChg chg="add del mod replST">
          <ac:chgData name="Brito Cortés, Sofía Constanza" userId="bc780694-5ad3-4b43-9d08-68ceeeeb3a92" providerId="ADAL" clId="{78668647-0E4E-4D51-9C0E-13926B4FF229}" dt="2023-07-13T13:36:08.389" v="1164"/>
          <ac:graphicFrameMkLst>
            <pc:docMk/>
            <pc:sldMk cId="4112429752" sldId="2147472047"/>
            <ac:graphicFrameMk id="84" creationId="{3C9C5267-5D9D-C1C4-4355-6087E5FA5074}"/>
          </ac:graphicFrameMkLst>
        </pc:graphicFrameChg>
        <pc:graphicFrameChg chg="add del mod replST">
          <ac:chgData name="Brito Cortés, Sofía Constanza" userId="bc780694-5ad3-4b43-9d08-68ceeeeb3a92" providerId="ADAL" clId="{78668647-0E4E-4D51-9C0E-13926B4FF229}" dt="2023-07-13T14:36:01.679" v="1304"/>
          <ac:graphicFrameMkLst>
            <pc:docMk/>
            <pc:sldMk cId="4112429752" sldId="2147472047"/>
            <ac:graphicFrameMk id="85" creationId="{250FF146-ED8C-3E85-F085-BC772EF8AE6D}"/>
          </ac:graphicFrameMkLst>
        </pc:graphicFrameChg>
        <pc:graphicFrameChg chg="add del mod replST">
          <ac:chgData name="Brito Cortés, Sofía Constanza" userId="bc780694-5ad3-4b43-9d08-68ceeeeb3a92" providerId="ADAL" clId="{78668647-0E4E-4D51-9C0E-13926B4FF229}" dt="2023-07-13T14:46:06.005" v="2673"/>
          <ac:graphicFrameMkLst>
            <pc:docMk/>
            <pc:sldMk cId="4112429752" sldId="2147472047"/>
            <ac:graphicFrameMk id="86" creationId="{EE7A76C0-50F0-C043-AEBF-F4347F8D19FD}"/>
          </ac:graphicFrameMkLst>
        </pc:graphicFrameChg>
        <pc:cxnChg chg="mod ord">
          <ac:chgData name="Brito Cortés, Sofía Constanza" userId="bc780694-5ad3-4b43-9d08-68ceeeeb3a92" providerId="ADAL" clId="{78668647-0E4E-4D51-9C0E-13926B4FF229}" dt="2023-07-13T14:46:40.460" v="3676"/>
          <ac:cxnSpMkLst>
            <pc:docMk/>
            <pc:sldMk cId="4112429752" sldId="2147472047"/>
            <ac:cxnSpMk id="5" creationId="{8A299F0C-81AB-2813-5E8F-63CC169D75E3}"/>
          </ac:cxnSpMkLst>
        </pc:cxnChg>
        <pc:cxnChg chg="mod ord">
          <ac:chgData name="Brito Cortés, Sofía Constanza" userId="bc780694-5ad3-4b43-9d08-68ceeeeb3a92" providerId="ADAL" clId="{78668647-0E4E-4D51-9C0E-13926B4FF229}" dt="2023-07-13T14:46:40.460" v="3674"/>
          <ac:cxnSpMkLst>
            <pc:docMk/>
            <pc:sldMk cId="4112429752" sldId="2147472047"/>
            <ac:cxnSpMk id="6" creationId="{F35AC3FA-B068-0756-1FDC-5F2BA395F2A2}"/>
          </ac:cxnSpMkLst>
        </pc:cxnChg>
        <pc:cxnChg chg="mod ord">
          <ac:chgData name="Brito Cortés, Sofía Constanza" userId="bc780694-5ad3-4b43-9d08-68ceeeeb3a92" providerId="ADAL" clId="{78668647-0E4E-4D51-9C0E-13926B4FF229}" dt="2023-07-13T14:46:40.460" v="3678"/>
          <ac:cxnSpMkLst>
            <pc:docMk/>
            <pc:sldMk cId="4112429752" sldId="2147472047"/>
            <ac:cxnSpMk id="7" creationId="{824628D7-96EE-9DB9-4ADE-0CF4488187A2}"/>
          </ac:cxnSpMkLst>
        </pc:cxnChg>
        <pc:cxnChg chg="mod ord">
          <ac:chgData name="Brito Cortés, Sofía Constanza" userId="bc780694-5ad3-4b43-9d08-68ceeeeb3a92" providerId="ADAL" clId="{78668647-0E4E-4D51-9C0E-13926B4FF229}" dt="2023-07-13T14:46:40.462" v="3680"/>
          <ac:cxnSpMkLst>
            <pc:docMk/>
            <pc:sldMk cId="4112429752" sldId="2147472047"/>
            <ac:cxnSpMk id="8" creationId="{0BC079A5-A320-18BD-6882-3A47E0D6BEF6}"/>
          </ac:cxnSpMkLst>
        </pc:cxnChg>
        <pc:cxnChg chg="mod ord">
          <ac:chgData name="Brito Cortés, Sofía Constanza" userId="bc780694-5ad3-4b43-9d08-68ceeeeb3a92" providerId="ADAL" clId="{78668647-0E4E-4D51-9C0E-13926B4FF229}" dt="2023-07-13T14:46:40.459" v="3672"/>
          <ac:cxnSpMkLst>
            <pc:docMk/>
            <pc:sldMk cId="4112429752" sldId="2147472047"/>
            <ac:cxnSpMk id="9" creationId="{E5849DBE-F448-5957-4B27-009C6D79BB4F}"/>
          </ac:cxnSpMkLst>
        </pc:cxnChg>
        <pc:cxnChg chg="mod ord">
          <ac:chgData name="Brito Cortés, Sofía Constanza" userId="bc780694-5ad3-4b43-9d08-68ceeeeb3a92" providerId="ADAL" clId="{78668647-0E4E-4D51-9C0E-13926B4FF229}" dt="2023-07-13T14:46:40.482" v="3743"/>
          <ac:cxnSpMkLst>
            <pc:docMk/>
            <pc:sldMk cId="4112429752" sldId="2147472047"/>
            <ac:cxnSpMk id="54" creationId="{0D574441-3F33-9C7F-BB05-24E9B54C9139}"/>
          </ac:cxnSpMkLst>
        </pc:cxnChg>
        <pc:cxnChg chg="mod ord">
          <ac:chgData name="Brito Cortés, Sofía Constanza" userId="bc780694-5ad3-4b43-9d08-68ceeeeb3a92" providerId="ADAL" clId="{78668647-0E4E-4D51-9C0E-13926B4FF229}" dt="2023-07-13T14:46:40.487" v="3761"/>
          <ac:cxnSpMkLst>
            <pc:docMk/>
            <pc:sldMk cId="4112429752" sldId="2147472047"/>
            <ac:cxnSpMk id="69" creationId="{C7FABC49-B3DB-47FE-9503-1AFECB2A1344}"/>
          </ac:cxnSpMkLst>
        </pc:cxnChg>
        <pc:cxnChg chg="mod ord">
          <ac:chgData name="Brito Cortés, Sofía Constanza" userId="bc780694-5ad3-4b43-9d08-68ceeeeb3a92" providerId="ADAL" clId="{78668647-0E4E-4D51-9C0E-13926B4FF229}" dt="2023-07-13T14:46:40.488" v="3765"/>
          <ac:cxnSpMkLst>
            <pc:docMk/>
            <pc:sldMk cId="4112429752" sldId="2147472047"/>
            <ac:cxnSpMk id="73" creationId="{8C05380A-9727-49F8-8964-4969C1A0BE77}"/>
          </ac:cxnSpMkLst>
        </pc:cxnChg>
      </pc:sldChg>
      <pc:sldChg chg="addSp delSp modSp mod">
        <pc:chgData name="Brito Cortés, Sofía Constanza" userId="bc780694-5ad3-4b43-9d08-68ceeeeb3a92" providerId="ADAL" clId="{78668647-0E4E-4D51-9C0E-13926B4FF229}" dt="2023-07-13T15:33:54.046" v="5434" actId="1076"/>
        <pc:sldMkLst>
          <pc:docMk/>
          <pc:sldMk cId="1385380796" sldId="2147472055"/>
        </pc:sldMkLst>
        <pc:spChg chg="mod">
          <ac:chgData name="Brito Cortés, Sofía Constanza" userId="bc780694-5ad3-4b43-9d08-68ceeeeb3a92" providerId="ADAL" clId="{78668647-0E4E-4D51-9C0E-13926B4FF229}" dt="2023-07-13T15:30:45.810" v="5407" actId="14100"/>
          <ac:spMkLst>
            <pc:docMk/>
            <pc:sldMk cId="1385380796" sldId="2147472055"/>
            <ac:spMk id="3" creationId="{9314D7BC-8012-1876-E091-A8991720254B}"/>
          </ac:spMkLst>
        </pc:spChg>
        <pc:spChg chg="add del mod">
          <ac:chgData name="Brito Cortés, Sofía Constanza" userId="bc780694-5ad3-4b43-9d08-68ceeeeb3a92" providerId="ADAL" clId="{78668647-0E4E-4D51-9C0E-13926B4FF229}" dt="2023-07-13T15:30:49.283" v="5408" actId="478"/>
          <ac:spMkLst>
            <pc:docMk/>
            <pc:sldMk cId="1385380796" sldId="2147472055"/>
            <ac:spMk id="4" creationId="{C2CD0E2A-5F33-893B-87D8-3B5F66E1BC61}"/>
          </ac:spMkLst>
        </pc:spChg>
        <pc:spChg chg="mod">
          <ac:chgData name="Brito Cortés, Sofía Constanza" userId="bc780694-5ad3-4b43-9d08-68ceeeeb3a92" providerId="ADAL" clId="{78668647-0E4E-4D51-9C0E-13926B4FF229}" dt="2023-07-13T15:33:54.046" v="5434" actId="1076"/>
          <ac:spMkLst>
            <pc:docMk/>
            <pc:sldMk cId="1385380796" sldId="2147472055"/>
            <ac:spMk id="6" creationId="{3ACA125B-C062-30BE-1121-7740234B9F92}"/>
          </ac:spMkLst>
        </pc:spChg>
      </pc:sldChg>
      <pc:sldChg chg="modSp mod">
        <pc:chgData name="Brito Cortés, Sofía Constanza" userId="bc780694-5ad3-4b43-9d08-68ceeeeb3a92" providerId="ADAL" clId="{78668647-0E4E-4D51-9C0E-13926B4FF229}" dt="2023-07-13T14:49:23.491" v="5076" actId="14100"/>
        <pc:sldMkLst>
          <pc:docMk/>
          <pc:sldMk cId="2228700247" sldId="2147472058"/>
        </pc:sldMkLst>
        <pc:spChg chg="mod">
          <ac:chgData name="Brito Cortés, Sofía Constanza" userId="bc780694-5ad3-4b43-9d08-68ceeeeb3a92" providerId="ADAL" clId="{78668647-0E4E-4D51-9C0E-13926B4FF229}" dt="2023-07-13T14:49:23.491" v="5076" actId="14100"/>
          <ac:spMkLst>
            <pc:docMk/>
            <pc:sldMk cId="2228700247" sldId="2147472058"/>
            <ac:spMk id="5" creationId="{76F56D33-FE5A-53BE-FBC1-ACB409BE4426}"/>
          </ac:spMkLst>
        </pc:spChg>
      </pc:sldChg>
      <pc:sldChg chg="addSp delSp modSp mod">
        <pc:chgData name="Brito Cortés, Sofía Constanza" userId="bc780694-5ad3-4b43-9d08-68ceeeeb3a92" providerId="ADAL" clId="{78668647-0E4E-4D51-9C0E-13926B4FF229}" dt="2023-07-13T14:58:45.507" v="5130" actId="478"/>
        <pc:sldMkLst>
          <pc:docMk/>
          <pc:sldMk cId="1581219010" sldId="2147472579"/>
        </pc:sldMkLst>
        <pc:spChg chg="mod">
          <ac:chgData name="Brito Cortés, Sofía Constanza" userId="bc780694-5ad3-4b43-9d08-68ceeeeb3a92" providerId="ADAL" clId="{78668647-0E4E-4D51-9C0E-13926B4FF229}" dt="2023-07-13T14:58:37.389" v="5128" actId="14100"/>
          <ac:spMkLst>
            <pc:docMk/>
            <pc:sldMk cId="1581219010" sldId="2147472579"/>
            <ac:spMk id="3" creationId="{00000000-0000-0000-0000-000000000000}"/>
          </ac:spMkLst>
        </pc:spChg>
        <pc:spChg chg="add del mod">
          <ac:chgData name="Brito Cortés, Sofía Constanza" userId="bc780694-5ad3-4b43-9d08-68ceeeeb3a92" providerId="ADAL" clId="{78668647-0E4E-4D51-9C0E-13926B4FF229}" dt="2023-07-13T14:58:45.507" v="5130" actId="478"/>
          <ac:spMkLst>
            <pc:docMk/>
            <pc:sldMk cId="1581219010" sldId="2147472579"/>
            <ac:spMk id="4" creationId="{B919347D-FFFD-CA66-E027-13D397252322}"/>
          </ac:spMkLst>
        </pc:spChg>
        <pc:spChg chg="mod">
          <ac:chgData name="Brito Cortés, Sofía Constanza" userId="bc780694-5ad3-4b43-9d08-68ceeeeb3a92" providerId="ADAL" clId="{78668647-0E4E-4D51-9C0E-13926B4FF229}" dt="2023-07-13T14:58:42.195" v="5129" actId="14100"/>
          <ac:spMkLst>
            <pc:docMk/>
            <pc:sldMk cId="1581219010" sldId="2147472579"/>
            <ac:spMk id="6" creationId="{8E85C523-76B0-C8C0-2EB2-1A682B98FC59}"/>
          </ac:spMkLst>
        </pc:spChg>
      </pc:sldChg>
      <pc:sldChg chg="addSp delSp modSp mod">
        <pc:chgData name="Brito Cortés, Sofía Constanza" userId="bc780694-5ad3-4b43-9d08-68ceeeeb3a92" providerId="ADAL" clId="{78668647-0E4E-4D51-9C0E-13926B4FF229}" dt="2023-07-13T15:44:14.829" v="5553" actId="478"/>
        <pc:sldMkLst>
          <pc:docMk/>
          <pc:sldMk cId="1055185935" sldId="2147472580"/>
        </pc:sldMkLst>
        <pc:spChg chg="mod">
          <ac:chgData name="Brito Cortés, Sofía Constanza" userId="bc780694-5ad3-4b43-9d08-68ceeeeb3a92" providerId="ADAL" clId="{78668647-0E4E-4D51-9C0E-13926B4FF229}" dt="2023-07-13T14:58:52.392" v="5132" actId="14100"/>
          <ac:spMkLst>
            <pc:docMk/>
            <pc:sldMk cId="1055185935" sldId="2147472580"/>
            <ac:spMk id="3" creationId="{00000000-0000-0000-0000-000000000000}"/>
          </ac:spMkLst>
        </pc:spChg>
        <pc:spChg chg="add del mod">
          <ac:chgData name="Brito Cortés, Sofía Constanza" userId="bc780694-5ad3-4b43-9d08-68ceeeeb3a92" providerId="ADAL" clId="{78668647-0E4E-4D51-9C0E-13926B4FF229}" dt="2023-07-13T14:59:01.272" v="5134" actId="478"/>
          <ac:spMkLst>
            <pc:docMk/>
            <pc:sldMk cId="1055185935" sldId="2147472580"/>
            <ac:spMk id="4" creationId="{3F3FFDDD-AA73-4F9D-9139-14F507A72655}"/>
          </ac:spMkLst>
        </pc:spChg>
        <pc:spChg chg="add del mod">
          <ac:chgData name="Brito Cortés, Sofía Constanza" userId="bc780694-5ad3-4b43-9d08-68ceeeeb3a92" providerId="ADAL" clId="{78668647-0E4E-4D51-9C0E-13926B4FF229}" dt="2023-07-13T15:44:14.829" v="5553" actId="478"/>
          <ac:spMkLst>
            <pc:docMk/>
            <pc:sldMk cId="1055185935" sldId="2147472580"/>
            <ac:spMk id="8" creationId="{59588578-2806-3F6E-CEF0-C13C58680BF7}"/>
          </ac:spMkLst>
        </pc:spChg>
      </pc:sldChg>
      <pc:sldChg chg="delSp modSp mod">
        <pc:chgData name="Brito Cortés, Sofía Constanza" userId="bc780694-5ad3-4b43-9d08-68ceeeeb3a92" providerId="ADAL" clId="{78668647-0E4E-4D51-9C0E-13926B4FF229}" dt="2023-07-13T15:44:17.838" v="5554"/>
        <pc:sldMkLst>
          <pc:docMk/>
          <pc:sldMk cId="2861664487" sldId="2147472582"/>
        </pc:sldMkLst>
        <pc:spChg chg="del">
          <ac:chgData name="Brito Cortés, Sofía Constanza" userId="bc780694-5ad3-4b43-9d08-68ceeeeb3a92" providerId="ADAL" clId="{78668647-0E4E-4D51-9C0E-13926B4FF229}" dt="2023-07-13T15:44:17.838" v="5554"/>
          <ac:spMkLst>
            <pc:docMk/>
            <pc:sldMk cId="2861664487" sldId="2147472582"/>
            <ac:spMk id="3" creationId="{91F53FF6-0BDA-6AA0-FD5B-7528989C0D59}"/>
          </ac:spMkLst>
        </pc:spChg>
        <pc:spChg chg="mod">
          <ac:chgData name="Brito Cortés, Sofía Constanza" userId="bc780694-5ad3-4b43-9d08-68ceeeeb3a92" providerId="ADAL" clId="{78668647-0E4E-4D51-9C0E-13926B4FF229}" dt="2023-07-13T14:49:52.736" v="5077" actId="207"/>
          <ac:spMkLst>
            <pc:docMk/>
            <pc:sldMk cId="2861664487" sldId="2147472582"/>
            <ac:spMk id="38" creationId="{4746C1AF-0177-46E7-B8A8-1A821220D563}"/>
          </ac:spMkLst>
        </pc:spChg>
      </pc:sldChg>
      <pc:sldChg chg="delSp">
        <pc:chgData name="Brito Cortés, Sofía Constanza" userId="bc780694-5ad3-4b43-9d08-68ceeeeb3a92" providerId="ADAL" clId="{78668647-0E4E-4D51-9C0E-13926B4FF229}" dt="2023-07-13T15:44:17.838" v="5554"/>
        <pc:sldMkLst>
          <pc:docMk/>
          <pc:sldMk cId="3391829830" sldId="2147472584"/>
        </pc:sldMkLst>
        <pc:spChg chg="del">
          <ac:chgData name="Brito Cortés, Sofía Constanza" userId="bc780694-5ad3-4b43-9d08-68ceeeeb3a92" providerId="ADAL" clId="{78668647-0E4E-4D51-9C0E-13926B4FF229}" dt="2023-07-13T15:44:17.838" v="5554"/>
          <ac:spMkLst>
            <pc:docMk/>
            <pc:sldMk cId="3391829830" sldId="2147472584"/>
            <ac:spMk id="2" creationId="{CBDA68B9-D883-5841-417E-1D98D65A80D9}"/>
          </ac:spMkLst>
        </pc:spChg>
      </pc:sldChg>
      <pc:sldChg chg="delSp">
        <pc:chgData name="Brito Cortés, Sofía Constanza" userId="bc780694-5ad3-4b43-9d08-68ceeeeb3a92" providerId="ADAL" clId="{78668647-0E4E-4D51-9C0E-13926B4FF229}" dt="2023-07-13T15:44:17.838" v="5554"/>
        <pc:sldMkLst>
          <pc:docMk/>
          <pc:sldMk cId="1959731242" sldId="2147472585"/>
        </pc:sldMkLst>
        <pc:spChg chg="del">
          <ac:chgData name="Brito Cortés, Sofía Constanza" userId="bc780694-5ad3-4b43-9d08-68ceeeeb3a92" providerId="ADAL" clId="{78668647-0E4E-4D51-9C0E-13926B4FF229}" dt="2023-07-13T15:44:17.838" v="5554"/>
          <ac:spMkLst>
            <pc:docMk/>
            <pc:sldMk cId="1959731242" sldId="2147472585"/>
            <ac:spMk id="2" creationId="{A54CEDBF-1D2D-6765-8CD7-BFBC2D3C458F}"/>
          </ac:spMkLst>
        </pc:spChg>
      </pc:sldChg>
      <pc:sldChg chg="addSp delSp modSp del mod">
        <pc:chgData name="Brito Cortés, Sofía Constanza" userId="bc780694-5ad3-4b43-9d08-68ceeeeb3a92" providerId="ADAL" clId="{78668647-0E4E-4D51-9C0E-13926B4FF229}" dt="2023-07-13T15:00:28.353" v="5317" actId="47"/>
        <pc:sldMkLst>
          <pc:docMk/>
          <pc:sldMk cId="2174871198" sldId="2147472593"/>
        </pc:sldMkLst>
        <pc:spChg chg="add del mod">
          <ac:chgData name="Brito Cortés, Sofía Constanza" userId="bc780694-5ad3-4b43-9d08-68ceeeeb3a92" providerId="ADAL" clId="{78668647-0E4E-4D51-9C0E-13926B4FF229}" dt="2023-07-13T14:59:17.058" v="5137" actId="478"/>
          <ac:spMkLst>
            <pc:docMk/>
            <pc:sldMk cId="2174871198" sldId="2147472593"/>
            <ac:spMk id="2" creationId="{609FA7B7-49C5-12ED-BC1F-F5F47C57BE71}"/>
          </ac:spMkLst>
        </pc:spChg>
        <pc:spChg chg="mod">
          <ac:chgData name="Brito Cortés, Sofía Constanza" userId="bc780694-5ad3-4b43-9d08-68ceeeeb3a92" providerId="ADAL" clId="{78668647-0E4E-4D51-9C0E-13926B4FF229}" dt="2023-07-13T14:59:10.208" v="5136" actId="14100"/>
          <ac:spMkLst>
            <pc:docMk/>
            <pc:sldMk cId="2174871198" sldId="2147472593"/>
            <ac:spMk id="16" creationId="{B91AFF71-4004-04AF-7F4F-00184F3A8AE1}"/>
          </ac:spMkLst>
        </pc:spChg>
      </pc:sldChg>
      <pc:sldChg chg="addSp delSp modSp add mod">
        <pc:chgData name="Brito Cortés, Sofía Constanza" userId="bc780694-5ad3-4b43-9d08-68ceeeeb3a92" providerId="ADAL" clId="{78668647-0E4E-4D51-9C0E-13926B4FF229}" dt="2023-07-13T15:01:43.228" v="5393" actId="14100"/>
        <pc:sldMkLst>
          <pc:docMk/>
          <pc:sldMk cId="1063732729" sldId="2147472594"/>
        </pc:sldMkLst>
        <pc:spChg chg="mod">
          <ac:chgData name="Brito Cortés, Sofía Constanza" userId="bc780694-5ad3-4b43-9d08-68ceeeeb3a92" providerId="ADAL" clId="{78668647-0E4E-4D51-9C0E-13926B4FF229}" dt="2023-07-13T15:01:20.634" v="5390" actId="14100"/>
          <ac:spMkLst>
            <pc:docMk/>
            <pc:sldMk cId="1063732729" sldId="2147472594"/>
            <ac:spMk id="5" creationId="{00000000-0000-0000-0000-000000000000}"/>
          </ac:spMkLst>
        </pc:spChg>
        <pc:spChg chg="mod">
          <ac:chgData name="Brito Cortés, Sofía Constanza" userId="bc780694-5ad3-4b43-9d08-68ceeeeb3a92" providerId="ADAL" clId="{78668647-0E4E-4D51-9C0E-13926B4FF229}" dt="2023-07-13T15:01:43.228" v="5393" actId="14100"/>
          <ac:spMkLst>
            <pc:docMk/>
            <pc:sldMk cId="1063732729" sldId="2147472594"/>
            <ac:spMk id="9" creationId="{69C3A41C-F820-0352-6504-8553680263BB}"/>
          </ac:spMkLst>
        </pc:spChg>
        <pc:spChg chg="mod">
          <ac:chgData name="Brito Cortés, Sofía Constanza" userId="bc780694-5ad3-4b43-9d08-68ceeeeb3a92" providerId="ADAL" clId="{78668647-0E4E-4D51-9C0E-13926B4FF229}" dt="2023-07-13T15:01:32.697" v="5392" actId="14100"/>
          <ac:spMkLst>
            <pc:docMk/>
            <pc:sldMk cId="1063732729" sldId="2147472594"/>
            <ac:spMk id="10" creationId="{3CBEAD6F-F1C1-7AAF-A62F-652C6D10E52E}"/>
          </ac:spMkLst>
        </pc:spChg>
        <pc:spChg chg="add del mod">
          <ac:chgData name="Brito Cortés, Sofía Constanza" userId="bc780694-5ad3-4b43-9d08-68ceeeeb3a92" providerId="ADAL" clId="{78668647-0E4E-4D51-9C0E-13926B4FF229}" dt="2023-07-13T15:01:28.445" v="5391" actId="478"/>
          <ac:spMkLst>
            <pc:docMk/>
            <pc:sldMk cId="1063732729" sldId="2147472594"/>
            <ac:spMk id="11" creationId="{149BA6E5-72E1-AC1B-C13C-2DEBC717B189}"/>
          </ac:spMkLst>
        </pc:spChg>
      </pc:sldChg>
      <pc:sldMasterChg chg="delSldLayout modSldLayout sldLayoutOrd">
        <pc:chgData name="Brito Cortés, Sofía Constanza" userId="bc780694-5ad3-4b43-9d08-68ceeeeb3a92" providerId="ADAL" clId="{78668647-0E4E-4D51-9C0E-13926B4FF229}" dt="2023-07-13T15:51:45.458" v="5563" actId="20578"/>
        <pc:sldMasterMkLst>
          <pc:docMk/>
          <pc:sldMasterMk cId="195468931" sldId="2147483648"/>
        </pc:sldMasterMkLst>
        <pc:sldLayoutChg chg="del ord">
          <pc:chgData name="Brito Cortés, Sofía Constanza" userId="bc780694-5ad3-4b43-9d08-68ceeeeb3a92" providerId="ADAL" clId="{78668647-0E4E-4D51-9C0E-13926B4FF229}" dt="2023-07-13T15:49:18.586" v="5558" actId="2696"/>
          <pc:sldLayoutMkLst>
            <pc:docMk/>
            <pc:sldMasterMk cId="195468931" sldId="2147483648"/>
            <pc:sldLayoutMk cId="924123321" sldId="2147483649"/>
          </pc:sldLayoutMkLst>
        </pc:sldLayoutChg>
        <pc:sldLayoutChg chg="modSp mod">
          <pc:chgData name="Brito Cortés, Sofía Constanza" userId="bc780694-5ad3-4b43-9d08-68ceeeeb3a92" providerId="ADAL" clId="{78668647-0E4E-4D51-9C0E-13926B4FF229}" dt="2023-07-13T15:50:03.660" v="5560" actId="5793"/>
          <pc:sldLayoutMkLst>
            <pc:docMk/>
            <pc:sldMasterMk cId="195468931" sldId="2147483648"/>
            <pc:sldLayoutMk cId="839351526" sldId="2147483652"/>
          </pc:sldLayoutMkLst>
          <pc:spChg chg="mod">
            <ac:chgData name="Brito Cortés, Sofía Constanza" userId="bc780694-5ad3-4b43-9d08-68ceeeeb3a92" providerId="ADAL" clId="{78668647-0E4E-4D51-9C0E-13926B4FF229}" dt="2023-07-13T15:50:03.660" v="5560" actId="5793"/>
            <ac:spMkLst>
              <pc:docMk/>
              <pc:sldMasterMk cId="195468931" sldId="2147483648"/>
              <pc:sldLayoutMk cId="839351526" sldId="2147483652"/>
              <ac:spMk id="4" creationId="{00000000-0000-0000-0000-000000000000}"/>
            </ac:spMkLst>
          </pc:spChg>
        </pc:sldLayoutChg>
        <pc:sldLayoutChg chg="modSp mod">
          <pc:chgData name="Brito Cortés, Sofía Constanza" userId="bc780694-5ad3-4b43-9d08-68ceeeeb3a92" providerId="ADAL" clId="{78668647-0E4E-4D51-9C0E-13926B4FF229}" dt="2023-07-13T15:50:25.339" v="5562" actId="14100"/>
          <pc:sldLayoutMkLst>
            <pc:docMk/>
            <pc:sldMasterMk cId="195468931" sldId="2147483648"/>
            <pc:sldLayoutMk cId="2764344850" sldId="2147483658"/>
          </pc:sldLayoutMkLst>
          <pc:spChg chg="mod">
            <ac:chgData name="Brito Cortés, Sofía Constanza" userId="bc780694-5ad3-4b43-9d08-68ceeeeb3a92" providerId="ADAL" clId="{78668647-0E4E-4D51-9C0E-13926B4FF229}" dt="2023-07-13T15:50:21.484" v="5561" actId="14100"/>
            <ac:spMkLst>
              <pc:docMk/>
              <pc:sldMasterMk cId="195468931" sldId="2147483648"/>
              <pc:sldLayoutMk cId="2764344850" sldId="2147483658"/>
              <ac:spMk id="8" creationId="{359D21D7-380C-F4B2-4834-98816DBD5590}"/>
            </ac:spMkLst>
          </pc:spChg>
          <pc:spChg chg="mod">
            <ac:chgData name="Brito Cortés, Sofía Constanza" userId="bc780694-5ad3-4b43-9d08-68ceeeeb3a92" providerId="ADAL" clId="{78668647-0E4E-4D51-9C0E-13926B4FF229}" dt="2023-07-13T15:50:25.339" v="5562" actId="14100"/>
            <ac:spMkLst>
              <pc:docMk/>
              <pc:sldMasterMk cId="195468931" sldId="2147483648"/>
              <pc:sldLayoutMk cId="2764344850" sldId="2147483658"/>
              <ac:spMk id="10" creationId="{91900A05-BCAC-D961-2A18-DB1AFF8D3320}"/>
            </ac:spMkLst>
          </pc:spChg>
        </pc:sldLayoutChg>
        <pc:sldLayoutChg chg="ord">
          <pc:chgData name="Brito Cortés, Sofía Constanza" userId="bc780694-5ad3-4b43-9d08-68ceeeeb3a92" providerId="ADAL" clId="{78668647-0E4E-4D51-9C0E-13926B4FF229}" dt="2023-07-13T15:51:45.458" v="5563" actId="20578"/>
          <pc:sldLayoutMkLst>
            <pc:docMk/>
            <pc:sldMasterMk cId="195468931" sldId="2147483648"/>
            <pc:sldLayoutMk cId="2752245890" sldId="2147483660"/>
          </pc:sldLayoutMkLst>
        </pc:sldLayoutChg>
      </pc:sldMaster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>
            <a:extLst>
              <a:ext uri="{FF2B5EF4-FFF2-40B4-BE49-F238E27FC236}">
                <a16:creationId xmlns:a16="http://schemas.microsoft.com/office/drawing/2014/main" xmlns="" id="{6B2790E3-B6ED-E7E6-5D07-82843B3EC0B0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CL"/>
          </a:p>
        </p:txBody>
      </p:sp>
      <p:sp>
        <p:nvSpPr>
          <p:cNvPr id="3" name="Marcador de fecha 2">
            <a:extLst>
              <a:ext uri="{FF2B5EF4-FFF2-40B4-BE49-F238E27FC236}">
                <a16:creationId xmlns:a16="http://schemas.microsoft.com/office/drawing/2014/main" xmlns="" id="{EE3A19C9-0F57-6475-631F-884B0E5B7A5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6FF8599-7029-4CF8-95BC-169911F75AAA}" type="datetimeFigureOut">
              <a:rPr lang="es-CL" smtClean="0"/>
              <a:t>24-02-2025</a:t>
            </a:fld>
            <a:endParaRPr lang="es-CL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xmlns="" id="{9866CBB2-CE96-B313-C552-1177FE96E0A2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CL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xmlns="" id="{99EE2CCB-AE9F-49E3-9066-A616DDDDC42B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F7272DF-830D-4E4A-A62B-81CF43A0216D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1956743239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CL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7F30DF6-1775-470B-AB63-2D0DB4F8C554}" type="datetimeFigureOut">
              <a:rPr lang="es-CL" smtClean="0"/>
              <a:t>24-02-2025</a:t>
            </a:fld>
            <a:endParaRPr lang="es-CL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CL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CL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E7F3A76-3C4B-46A8-9478-22DCFEA7A812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337809736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37656863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70377076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61781851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7325060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21593708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400386830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15281702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40136687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333433988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1710338028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41104431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1589552612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404915657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1982113842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743895946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1981069733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1635400226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632130397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1987591693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1115260046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100421675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160915241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1099342359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49974054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43637691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42324417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86005531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23262682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03479218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150878438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svg"/><Relationship Id="rId3" Type="http://schemas.openxmlformats.org/officeDocument/2006/relationships/tags" Target="../tags/tag5.xml"/><Relationship Id="rId7" Type="http://schemas.openxmlformats.org/officeDocument/2006/relationships/image" Target="../media/image3.pn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7.png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5.bin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rtada 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arcador de posición de imagen 3"/>
          <p:cNvSpPr>
            <a:spLocks noGrp="1"/>
          </p:cNvSpPr>
          <p:nvPr>
            <p:ph type="pic" sz="quarter" idx="18"/>
          </p:nvPr>
        </p:nvSpPr>
        <p:spPr>
          <a:xfrm>
            <a:off x="-1" y="0"/>
            <a:ext cx="10564597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aseline="0"/>
            </a:lvl1pPr>
          </a:lstStyle>
          <a:p>
            <a:endParaRPr lang="es-CL" dirty="0"/>
          </a:p>
        </p:txBody>
      </p:sp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xmlns="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72" name="Diapositiva de think-cell" r:id="rId5" imgW="7772400" imgH="10058400" progId="TCLayout.ActiveDocument.1">
                  <p:embed/>
                </p:oleObj>
              </mc:Choice>
              <mc:Fallback>
                <p:oleObj name="Diapositiva de think-cell" r:id="rId5" imgW="7772400" imgH="10058400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:a16="http://schemas.microsoft.com/office/drawing/2014/main" xmlns="" id="{7D264631-F2A2-F64D-95FE-2D276C78EE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Marcador de texto 7">
            <a:extLst>
              <a:ext uri="{FF2B5EF4-FFF2-40B4-BE49-F238E27FC236}">
                <a16:creationId xmlns:a16="http://schemas.microsoft.com/office/drawing/2014/main" xmlns="" id="{20BE0170-29F6-464B-92DA-5BCC02F0774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894936" y="6307024"/>
            <a:ext cx="1039662" cy="504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000" b="0" u="none">
                <a:solidFill>
                  <a:schemeClr val="tx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Fecha</a:t>
            </a:r>
            <a:endParaRPr lang="es-CL" dirty="0"/>
          </a:p>
        </p:txBody>
      </p:sp>
      <p:sp>
        <p:nvSpPr>
          <p:cNvPr id="35" name="Marcador de texto 7">
            <a:extLst>
              <a:ext uri="{FF2B5EF4-FFF2-40B4-BE49-F238E27FC236}">
                <a16:creationId xmlns:a16="http://schemas.microsoft.com/office/drawing/2014/main" xmlns="" id="{D7DF378A-026C-4225-AFB3-233ADAFEB27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4085" y="4957143"/>
            <a:ext cx="4989786" cy="114341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3000" b="1">
                <a:solidFill>
                  <a:schemeClr val="bg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presentación Máximo 3 líneas </a:t>
            </a:r>
            <a:br>
              <a:rPr lang="es-ES" dirty="0"/>
            </a:br>
            <a:r>
              <a:rPr lang="es-ES" dirty="0"/>
              <a:t>Arial Bold - 30 puntos</a:t>
            </a:r>
            <a:endParaRPr lang="es-CL" dirty="0"/>
          </a:p>
        </p:txBody>
      </p:sp>
      <p:pic>
        <p:nvPicPr>
          <p:cNvPr id="3" name="Gráfico 2">
            <a:extLst>
              <a:ext uri="{FF2B5EF4-FFF2-40B4-BE49-F238E27FC236}">
                <a16:creationId xmlns:a16="http://schemas.microsoft.com/office/drawing/2014/main" xmlns="" id="{6684D6C2-8FED-B52F-0DE2-7AC39638A0FF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p:blipFill>
        <p:spPr>
          <a:xfrm>
            <a:off x="10884657" y="407975"/>
            <a:ext cx="987281" cy="1557134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83935152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extLst mod="1">
    <p:ext uri="{DCECCB84-F9BA-43D5-87BE-67443E8EF086}">
      <p15:sldGuideLst xmlns:p15="http://schemas.microsoft.com/office/powerpoint/2012/main">
        <p15:guide id="1" pos="6584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="" xmlns:a16="http://schemas.microsoft.com/office/drawing/2014/main" id="{81FDD8CC-7D23-574F-832E-026B7C9718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texto 2">
            <a:extLst>
              <a:ext uri="{FF2B5EF4-FFF2-40B4-BE49-F238E27FC236}">
                <a16:creationId xmlns="" xmlns:a16="http://schemas.microsoft.com/office/drawing/2014/main" id="{C5EE044A-675D-ED4C-A767-9BC712FA195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4" name="Marcador de fecha 3">
            <a:extLst>
              <a:ext uri="{FF2B5EF4-FFF2-40B4-BE49-F238E27FC236}">
                <a16:creationId xmlns="" xmlns:a16="http://schemas.microsoft.com/office/drawing/2014/main" id="{61BA5BFD-9126-B440-90F1-F47A6259064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ACA158-DF4D-074D-AE31-E9964B8F1811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24-02-202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pie de página 4">
            <a:extLst>
              <a:ext uri="{FF2B5EF4-FFF2-40B4-BE49-F238E27FC236}">
                <a16:creationId xmlns="" xmlns:a16="http://schemas.microsoft.com/office/drawing/2014/main" id="{12731A68-3B59-8C40-AFDF-CCAB350FF1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="" xmlns:a16="http://schemas.microsoft.com/office/drawing/2014/main" id="{251D325D-637D-9649-ADB0-A863497477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6E91D1-4FE0-7F41-A762-E8DCE95C4189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0735164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="" xmlns:a16="http://schemas.microsoft.com/office/drawing/2014/main" id="{17A881FB-4F42-8046-ABC6-B04A53866E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contenido 2">
            <a:extLst>
              <a:ext uri="{FF2B5EF4-FFF2-40B4-BE49-F238E27FC236}">
                <a16:creationId xmlns="" xmlns:a16="http://schemas.microsoft.com/office/drawing/2014/main" id="{B62BF278-7035-F148-AFCF-4FA196416ED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4" name="Marcador de contenido 3">
            <a:extLst>
              <a:ext uri="{FF2B5EF4-FFF2-40B4-BE49-F238E27FC236}">
                <a16:creationId xmlns="" xmlns:a16="http://schemas.microsoft.com/office/drawing/2014/main" id="{FCA97817-07AA-5E4B-97F1-F783A4A740D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5" name="Marcador de fecha 4">
            <a:extLst>
              <a:ext uri="{FF2B5EF4-FFF2-40B4-BE49-F238E27FC236}">
                <a16:creationId xmlns="" xmlns:a16="http://schemas.microsoft.com/office/drawing/2014/main" id="{1EDC9D8F-2F49-EA47-AA74-DD02ACE0F07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ACA158-DF4D-074D-AE31-E9964B8F1811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24-02-202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pie de página 5">
            <a:extLst>
              <a:ext uri="{FF2B5EF4-FFF2-40B4-BE49-F238E27FC236}">
                <a16:creationId xmlns="" xmlns:a16="http://schemas.microsoft.com/office/drawing/2014/main" id="{4A3E329F-D94A-0A44-AC1D-F3C7944AE39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="" xmlns:a16="http://schemas.microsoft.com/office/drawing/2014/main" id="{6F475A9C-0876-284E-8D0F-C653941FA7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6E91D1-4FE0-7F41-A762-E8DCE95C4189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1766503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="" xmlns:a16="http://schemas.microsoft.com/office/drawing/2014/main" id="{8AB87EF9-D2CA-1F40-85B8-4D5B5EA778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texto 2">
            <a:extLst>
              <a:ext uri="{FF2B5EF4-FFF2-40B4-BE49-F238E27FC236}">
                <a16:creationId xmlns="" xmlns:a16="http://schemas.microsoft.com/office/drawing/2014/main" id="{2F78C959-5C05-5A42-B241-D5C7245124C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4" name="Marcador de contenido 3">
            <a:extLst>
              <a:ext uri="{FF2B5EF4-FFF2-40B4-BE49-F238E27FC236}">
                <a16:creationId xmlns="" xmlns:a16="http://schemas.microsoft.com/office/drawing/2014/main" id="{201F5C5C-CFA9-8947-9E7F-EAEF055FB92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5" name="Marcador de texto 4">
            <a:extLst>
              <a:ext uri="{FF2B5EF4-FFF2-40B4-BE49-F238E27FC236}">
                <a16:creationId xmlns="" xmlns:a16="http://schemas.microsoft.com/office/drawing/2014/main" id="{62A23890-50DA-BF48-BF51-6D023D6F562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6" name="Marcador de contenido 5">
            <a:extLst>
              <a:ext uri="{FF2B5EF4-FFF2-40B4-BE49-F238E27FC236}">
                <a16:creationId xmlns="" xmlns:a16="http://schemas.microsoft.com/office/drawing/2014/main" id="{2669B336-F8D7-1244-9AEF-B3D4CF221F2E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7" name="Marcador de fecha 6">
            <a:extLst>
              <a:ext uri="{FF2B5EF4-FFF2-40B4-BE49-F238E27FC236}">
                <a16:creationId xmlns="" xmlns:a16="http://schemas.microsoft.com/office/drawing/2014/main" id="{0EDC099B-DF1B-2449-9A08-9318A4FD28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ACA158-DF4D-074D-AE31-E9964B8F1811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24-02-202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Marcador de pie de página 7">
            <a:extLst>
              <a:ext uri="{FF2B5EF4-FFF2-40B4-BE49-F238E27FC236}">
                <a16:creationId xmlns="" xmlns:a16="http://schemas.microsoft.com/office/drawing/2014/main" id="{75F737D9-C32F-2346-A5CA-E61781AC72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Marcador de número de diapositiva 8">
            <a:extLst>
              <a:ext uri="{FF2B5EF4-FFF2-40B4-BE49-F238E27FC236}">
                <a16:creationId xmlns="" xmlns:a16="http://schemas.microsoft.com/office/drawing/2014/main" id="{A1704B97-9C58-804B-8BDF-B18CF564C5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6E91D1-4FE0-7F41-A762-E8DCE95C4189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4079596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="" xmlns:a16="http://schemas.microsoft.com/office/drawing/2014/main" id="{5F8977A6-5208-D946-973F-FD471EA08A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fecha 2">
            <a:extLst>
              <a:ext uri="{FF2B5EF4-FFF2-40B4-BE49-F238E27FC236}">
                <a16:creationId xmlns="" xmlns:a16="http://schemas.microsoft.com/office/drawing/2014/main" id="{31CC0EF0-3CAD-9D41-8E5E-8E9F5E30559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ACA158-DF4D-074D-AE31-E9964B8F1811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24-02-202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Marcador de pie de página 3">
            <a:extLst>
              <a:ext uri="{FF2B5EF4-FFF2-40B4-BE49-F238E27FC236}">
                <a16:creationId xmlns="" xmlns:a16="http://schemas.microsoft.com/office/drawing/2014/main" id="{639BA876-8B0B-7F41-9383-7EA4CF6AEA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="" xmlns:a16="http://schemas.microsoft.com/office/drawing/2014/main" id="{DDEC1E57-3812-B243-8646-D1D2C1A176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6E91D1-4FE0-7F41-A762-E8DCE95C4189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3100207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>
            <a:extLst>
              <a:ext uri="{FF2B5EF4-FFF2-40B4-BE49-F238E27FC236}">
                <a16:creationId xmlns="" xmlns:a16="http://schemas.microsoft.com/office/drawing/2014/main" id="{BD45F530-C227-BA42-AB23-739B64D07C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ACA158-DF4D-074D-AE31-E9964B8F1811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24-02-202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Marcador de pie de página 2">
            <a:extLst>
              <a:ext uri="{FF2B5EF4-FFF2-40B4-BE49-F238E27FC236}">
                <a16:creationId xmlns="" xmlns:a16="http://schemas.microsoft.com/office/drawing/2014/main" id="{B554A6B6-6BFD-044B-A1BD-94AE28B5FA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="" xmlns:a16="http://schemas.microsoft.com/office/drawing/2014/main" id="{E9094E48-E8C6-FB4D-BF96-987F5B77B9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6E91D1-4FE0-7F41-A762-E8DCE95C4189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6226678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="" xmlns:a16="http://schemas.microsoft.com/office/drawing/2014/main" id="{8F24450B-F42B-FB4D-89A9-CA59CC3E39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contenido 2">
            <a:extLst>
              <a:ext uri="{FF2B5EF4-FFF2-40B4-BE49-F238E27FC236}">
                <a16:creationId xmlns="" xmlns:a16="http://schemas.microsoft.com/office/drawing/2014/main" id="{53E39D99-AAAB-4145-A36D-C8F424A998E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4" name="Marcador de texto 3">
            <a:extLst>
              <a:ext uri="{FF2B5EF4-FFF2-40B4-BE49-F238E27FC236}">
                <a16:creationId xmlns="" xmlns:a16="http://schemas.microsoft.com/office/drawing/2014/main" id="{D69F24E0-BBF4-CC49-B05E-FACC0CEA549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5" name="Marcador de fecha 4">
            <a:extLst>
              <a:ext uri="{FF2B5EF4-FFF2-40B4-BE49-F238E27FC236}">
                <a16:creationId xmlns="" xmlns:a16="http://schemas.microsoft.com/office/drawing/2014/main" id="{806DF0AF-C098-5B48-829D-DB56DAD24D0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ACA158-DF4D-074D-AE31-E9964B8F1811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24-02-202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pie de página 5">
            <a:extLst>
              <a:ext uri="{FF2B5EF4-FFF2-40B4-BE49-F238E27FC236}">
                <a16:creationId xmlns="" xmlns:a16="http://schemas.microsoft.com/office/drawing/2014/main" id="{B13E2C68-9F65-2F48-BDAA-BF825D3174D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="" xmlns:a16="http://schemas.microsoft.com/office/drawing/2014/main" id="{4D7BD95A-BA1D-F445-8878-128B3761C7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6E91D1-4FE0-7F41-A762-E8DCE95C4189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4114598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="" xmlns:a16="http://schemas.microsoft.com/office/drawing/2014/main" id="{EE313084-ED99-9E4D-BE6C-2CE0656520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="" xmlns:a16="http://schemas.microsoft.com/office/drawing/2014/main" id="{8F3066EA-AB7D-814F-8929-75A7F98C1ED8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s-CL"/>
          </a:p>
        </p:txBody>
      </p:sp>
      <p:sp>
        <p:nvSpPr>
          <p:cNvPr id="4" name="Marcador de texto 3">
            <a:extLst>
              <a:ext uri="{FF2B5EF4-FFF2-40B4-BE49-F238E27FC236}">
                <a16:creationId xmlns="" xmlns:a16="http://schemas.microsoft.com/office/drawing/2014/main" id="{C8449CCE-225C-284F-846D-5AC4E78A7CD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5" name="Marcador de fecha 4">
            <a:extLst>
              <a:ext uri="{FF2B5EF4-FFF2-40B4-BE49-F238E27FC236}">
                <a16:creationId xmlns="" xmlns:a16="http://schemas.microsoft.com/office/drawing/2014/main" id="{30D8D557-0D49-EC48-A3B7-15D7C5C9259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ACA158-DF4D-074D-AE31-E9964B8F1811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24-02-202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pie de página 5">
            <a:extLst>
              <a:ext uri="{FF2B5EF4-FFF2-40B4-BE49-F238E27FC236}">
                <a16:creationId xmlns="" xmlns:a16="http://schemas.microsoft.com/office/drawing/2014/main" id="{E1D28889-5E0B-9147-ABC2-A94291DD8EA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="" xmlns:a16="http://schemas.microsoft.com/office/drawing/2014/main" id="{8DB87C00-1C7E-584F-89FD-D7F418C4E3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6E91D1-4FE0-7F41-A762-E8DCE95C4189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3225141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="" xmlns:a16="http://schemas.microsoft.com/office/drawing/2014/main" id="{75CA2BA3-7E7A-6042-9A7D-C221AEDC808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texto vertical 2">
            <a:extLst>
              <a:ext uri="{FF2B5EF4-FFF2-40B4-BE49-F238E27FC236}">
                <a16:creationId xmlns="" xmlns:a16="http://schemas.microsoft.com/office/drawing/2014/main" id="{6407B4BC-AFE8-3341-B25E-9E072D02B9A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4" name="Marcador de fecha 3">
            <a:extLst>
              <a:ext uri="{FF2B5EF4-FFF2-40B4-BE49-F238E27FC236}">
                <a16:creationId xmlns="" xmlns:a16="http://schemas.microsoft.com/office/drawing/2014/main" id="{36FFC573-089B-E647-AFE6-37263961C6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ACA158-DF4D-074D-AE31-E9964B8F1811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24-02-202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pie de página 4">
            <a:extLst>
              <a:ext uri="{FF2B5EF4-FFF2-40B4-BE49-F238E27FC236}">
                <a16:creationId xmlns="" xmlns:a16="http://schemas.microsoft.com/office/drawing/2014/main" id="{DA080199-4A5D-7049-B631-4AA803EB2C2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="" xmlns:a16="http://schemas.microsoft.com/office/drawing/2014/main" id="{65DCC475-665A-E44B-AFDB-9E3FFD8246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6E91D1-4FE0-7F41-A762-E8DCE95C4189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0709285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="" xmlns:a16="http://schemas.microsoft.com/office/drawing/2014/main" id="{AE300FBC-0B96-604A-8C1A-82366ED1FE57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texto vertical 2">
            <a:extLst>
              <a:ext uri="{FF2B5EF4-FFF2-40B4-BE49-F238E27FC236}">
                <a16:creationId xmlns="" xmlns:a16="http://schemas.microsoft.com/office/drawing/2014/main" id="{9CDD020B-FC82-8A4C-842D-35FC3DCBB7D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4" name="Marcador de fecha 3">
            <a:extLst>
              <a:ext uri="{FF2B5EF4-FFF2-40B4-BE49-F238E27FC236}">
                <a16:creationId xmlns="" xmlns:a16="http://schemas.microsoft.com/office/drawing/2014/main" id="{20F747D2-B59F-5E4D-B65E-F47D39459A8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ACA158-DF4D-074D-AE31-E9964B8F1811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24-02-202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pie de página 4">
            <a:extLst>
              <a:ext uri="{FF2B5EF4-FFF2-40B4-BE49-F238E27FC236}">
                <a16:creationId xmlns="" xmlns:a16="http://schemas.microsoft.com/office/drawing/2014/main" id="{63D477E8-49AB-FF4B-8553-D73F13CB68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="" xmlns:a16="http://schemas.microsoft.com/office/drawing/2014/main" id="{035512FF-35ED-1C44-ADB9-F8DF8881FF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6E91D1-4FE0-7F41-A762-E8DCE95C4189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544321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7 portada simple v2 sin ilustració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xmlns="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347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:a16="http://schemas.microsoft.com/office/drawing/2014/main" xmlns="" id="{7D264631-F2A2-F64D-95FE-2D276C78EE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Marcador de texto 7">
            <a:extLst>
              <a:ext uri="{FF2B5EF4-FFF2-40B4-BE49-F238E27FC236}">
                <a16:creationId xmlns:a16="http://schemas.microsoft.com/office/drawing/2014/main" xmlns="" id="{9FAA23D5-B1A8-589C-8ED5-F341FFFEA56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099300" y="4046751"/>
            <a:ext cx="3826112" cy="504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 b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marL="0" marR="0" lvl="0" indent="0" algn="l" defTabSz="1218406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r>
              <a:rPr lang="es-ES" dirty="0"/>
              <a:t>Subtítulo</a:t>
            </a:r>
            <a:r>
              <a:rPr lang="es-CL" dirty="0"/>
              <a:t> Arial 15</a:t>
            </a:r>
          </a:p>
        </p:txBody>
      </p:sp>
      <p:sp>
        <p:nvSpPr>
          <p:cNvPr id="7" name="Marcador de texto 7">
            <a:extLst>
              <a:ext uri="{FF2B5EF4-FFF2-40B4-BE49-F238E27FC236}">
                <a16:creationId xmlns:a16="http://schemas.microsoft.com/office/drawing/2014/main" xmlns="" id="{0B08D841-0276-33C3-3666-53CC67862A7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099300" y="2413732"/>
            <a:ext cx="3876916" cy="130036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30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portada máximo 3 líneas Arial Regular - 30 puntos</a:t>
            </a:r>
            <a:endParaRPr lang="es-CL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xmlns="" id="{405908D8-C228-386F-036A-739C27418E4A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5786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extLst>
    <p:ext uri="{DCECCB84-F9BA-43D5-87BE-67443E8EF086}">
      <p15:sldGuideLst xmlns:p15="http://schemas.microsoft.com/office/powerpoint/2012/main">
        <p15:guide id="2" pos="6584">
          <p15:clr>
            <a:srgbClr val="FBAE40"/>
          </p15:clr>
        </p15:guide>
        <p15:guide id="3" pos="3597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olo texto y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Marcador de texto 4">
            <a:extLst>
              <a:ext uri="{FF2B5EF4-FFF2-40B4-BE49-F238E27FC236}">
                <a16:creationId xmlns:a16="http://schemas.microsoft.com/office/drawing/2014/main" xmlns="" id="{0F855893-C32C-4FEA-A235-92BF0A898AD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9263" y="1615349"/>
            <a:ext cx="11365880" cy="4735858"/>
          </a:xfrm>
          <a:prstGeom prst="rect">
            <a:avLst/>
          </a:prstGeom>
        </p:spPr>
        <p:txBody>
          <a:bodyPr/>
          <a:lstStyle>
            <a:lvl1pPr marL="285750" indent="-285750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600">
                <a:solidFill>
                  <a:schemeClr val="accent3">
                    <a:lumMod val="75000"/>
                    <a:lumOff val="25000"/>
                  </a:schemeClr>
                </a:solidFill>
              </a:defRPr>
            </a:lvl1pPr>
            <a:lvl2pPr marL="590550" indent="-285750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tabLst/>
              <a:defRPr sz="1400">
                <a:solidFill>
                  <a:schemeClr val="accent3">
                    <a:lumMod val="75000"/>
                    <a:lumOff val="25000"/>
                  </a:schemeClr>
                </a:solidFill>
              </a:defRPr>
            </a:lvl2pPr>
            <a:lvl3pPr marL="895350" indent="-285750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Arial" panose="020B0604020202020204" pitchFamily="34" charset="0"/>
              <a:buChar char="-"/>
              <a:tabLst/>
              <a:defRPr sz="1400">
                <a:solidFill>
                  <a:schemeClr val="accent3">
                    <a:lumMod val="75000"/>
                    <a:lumOff val="25000"/>
                  </a:schemeClr>
                </a:solidFill>
              </a:defRPr>
            </a:lvl3pPr>
            <a:lvl4pPr marL="1200150" indent="-285750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Arial" panose="020B0604020202020204" pitchFamily="34" charset="0"/>
              <a:buChar char="-"/>
              <a:tabLst/>
              <a:defRPr sz="1400">
                <a:solidFill>
                  <a:schemeClr val="accent3">
                    <a:lumMod val="75000"/>
                    <a:lumOff val="25000"/>
                  </a:schemeClr>
                </a:solidFill>
              </a:defRPr>
            </a:lvl4pPr>
            <a:lvl5pPr marL="1504950" indent="-285750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Arial" panose="020B0604020202020204" pitchFamily="34" charset="0"/>
              <a:buChar char="-"/>
              <a:tabLst/>
              <a:defRPr sz="1400">
                <a:solidFill>
                  <a:schemeClr val="accent3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s-ES" dirty="0"/>
              <a:t>Párrafo solo texto Arial 16</a:t>
            </a:r>
          </a:p>
          <a:p>
            <a:pPr lvl="1"/>
            <a:r>
              <a:rPr lang="es-ES" dirty="0" err="1"/>
              <a:t>Bullet</a:t>
            </a:r>
            <a:r>
              <a:rPr lang="es-ES" dirty="0"/>
              <a:t> Arial 14</a:t>
            </a:r>
          </a:p>
          <a:p>
            <a:pPr lvl="2"/>
            <a:r>
              <a:rPr lang="es-ES" dirty="0" err="1"/>
              <a:t>Sub-bullet</a:t>
            </a:r>
            <a:r>
              <a:rPr lang="es-ES" dirty="0"/>
              <a:t> Arial 14</a:t>
            </a:r>
          </a:p>
          <a:p>
            <a:pPr lvl="3"/>
            <a:r>
              <a:rPr lang="es-ES" dirty="0" err="1"/>
              <a:t>Sub-bullet</a:t>
            </a:r>
            <a:r>
              <a:rPr lang="es-ES" dirty="0"/>
              <a:t> Arial 14</a:t>
            </a:r>
          </a:p>
          <a:p>
            <a:pPr lvl="4"/>
            <a:r>
              <a:rPr lang="es-ES" dirty="0" err="1"/>
              <a:t>Sub-bullet</a:t>
            </a:r>
            <a:r>
              <a:rPr lang="es-ES" dirty="0"/>
              <a:t> Arial 14</a:t>
            </a:r>
          </a:p>
          <a:p>
            <a:pPr lvl="4"/>
            <a:endParaRPr lang="es-ES_tradnl" dirty="0"/>
          </a:p>
        </p:txBody>
      </p:sp>
      <p:sp>
        <p:nvSpPr>
          <p:cNvPr id="12" name="Marcador de texto 7">
            <a:extLst>
              <a:ext uri="{FF2B5EF4-FFF2-40B4-BE49-F238E27FC236}">
                <a16:creationId xmlns:a16="http://schemas.microsoft.com/office/drawing/2014/main" xmlns="" id="{703E2759-6EFD-9528-5014-B5B857D70474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436561" y="6617652"/>
            <a:ext cx="10964127" cy="22913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900" b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Pie de página Arial 9</a:t>
            </a:r>
          </a:p>
        </p:txBody>
      </p:sp>
      <p:sp>
        <p:nvSpPr>
          <p:cNvPr id="14" name="Marcador de número de diapositiva 1">
            <a:extLst>
              <a:ext uri="{FF2B5EF4-FFF2-40B4-BE49-F238E27FC236}">
                <a16:creationId xmlns:a16="http://schemas.microsoft.com/office/drawing/2014/main" xmlns="" id="{7148B77E-AECB-2D4A-7BD3-666426DD69B4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11552237" y="6617652"/>
            <a:ext cx="505443" cy="240348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dirty="0"/>
          </a:p>
        </p:txBody>
      </p:sp>
      <p:sp>
        <p:nvSpPr>
          <p:cNvPr id="4" name="Marcador de texto 7">
            <a:extLst>
              <a:ext uri="{FF2B5EF4-FFF2-40B4-BE49-F238E27FC236}">
                <a16:creationId xmlns:a16="http://schemas.microsoft.com/office/drawing/2014/main" xmlns="" id="{E77FA1BC-992A-474A-99C8-2FF763D44CFC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9865812" cy="52387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Regular 20</a:t>
            </a:r>
          </a:p>
        </p:txBody>
      </p:sp>
      <p:sp>
        <p:nvSpPr>
          <p:cNvPr id="5" name="Marcador de texto 7">
            <a:extLst>
              <a:ext uri="{FF2B5EF4-FFF2-40B4-BE49-F238E27FC236}">
                <a16:creationId xmlns:a16="http://schemas.microsoft.com/office/drawing/2014/main" xmlns="" id="{1D573755-52D3-11A9-1908-E027C9E123B6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1159880"/>
            <a:ext cx="9865812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3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Subtítulo Arial 16</a:t>
            </a:r>
            <a:endParaRPr lang="es-CL" dirty="0"/>
          </a:p>
        </p:txBody>
      </p:sp>
      <p:cxnSp>
        <p:nvCxnSpPr>
          <p:cNvPr id="6" name="Conector recto 18">
            <a:extLst>
              <a:ext uri="{FF2B5EF4-FFF2-40B4-BE49-F238E27FC236}">
                <a16:creationId xmlns:a16="http://schemas.microsoft.com/office/drawing/2014/main" xmlns="" id="{1844C991-962C-D4B2-914A-96D64334FF34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7" name="Picture 9">
            <a:extLst>
              <a:ext uri="{FF2B5EF4-FFF2-40B4-BE49-F238E27FC236}">
                <a16:creationId xmlns:a16="http://schemas.microsoft.com/office/drawing/2014/main" xmlns="" id="{7C668FD5-0D1E-D05F-826F-CB8A7BBD5D8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6782724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ierre_casa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exto 7">
            <a:extLst>
              <a:ext uri="{FF2B5EF4-FFF2-40B4-BE49-F238E27FC236}">
                <a16:creationId xmlns:a16="http://schemas.microsoft.com/office/drawing/2014/main" xmlns="" id="{6FD37190-D8CB-B721-B802-B940C8430AD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866002" y="1325117"/>
            <a:ext cx="5340927" cy="3293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tabLst/>
              <a:defRPr sz="115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Muchas</a:t>
            </a:r>
          </a:p>
          <a:p>
            <a:pPr lvl="0"/>
            <a:r>
              <a:rPr lang="es-ES" dirty="0"/>
              <a:t>gracias!</a:t>
            </a:r>
            <a:endParaRPr lang="es-CL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xmlns="" id="{2E7EB75B-AFA5-A24E-275D-BF73DF50840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356" t="-1005" r="24290" b="18450"/>
          <a:stretch/>
        </p:blipFill>
        <p:spPr>
          <a:xfrm>
            <a:off x="379957" y="696191"/>
            <a:ext cx="5954232" cy="6161809"/>
          </a:xfrm>
          <a:prstGeom prst="rect">
            <a:avLst/>
          </a:prstGeom>
        </p:spPr>
      </p:pic>
      <p:sp>
        <p:nvSpPr>
          <p:cNvPr id="9" name="Marcador de texto 7">
            <a:extLst>
              <a:ext uri="{FF2B5EF4-FFF2-40B4-BE49-F238E27FC236}">
                <a16:creationId xmlns:a16="http://schemas.microsoft.com/office/drawing/2014/main" xmlns="" id="{7E0A6187-581B-9495-C946-63C5BF6773E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866002" y="4903909"/>
            <a:ext cx="2138711" cy="23948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 b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 err="1"/>
              <a:t>www.achs.cl</a:t>
            </a:r>
            <a:endParaRPr lang="es-CL" dirty="0"/>
          </a:p>
        </p:txBody>
      </p:sp>
      <p:pic>
        <p:nvPicPr>
          <p:cNvPr id="3" name="Picture 9">
            <a:extLst>
              <a:ext uri="{FF2B5EF4-FFF2-40B4-BE49-F238E27FC236}">
                <a16:creationId xmlns:a16="http://schemas.microsoft.com/office/drawing/2014/main" xmlns="" id="{8CAF82DF-1EBE-5B84-3BAD-E0710FCC076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866002" y="5428821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273899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Verde Portadilla capitulo c titulo y logo (V2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Marcador de texto 7">
            <a:extLst>
              <a:ext uri="{FF2B5EF4-FFF2-40B4-BE49-F238E27FC236}">
                <a16:creationId xmlns:a16="http://schemas.microsoft.com/office/drawing/2014/main" xmlns="" id="{7D61C88C-2C0C-7B1D-6536-0F4590425B1A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864297" y="4868685"/>
            <a:ext cx="5863856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  <p:sp>
        <p:nvSpPr>
          <p:cNvPr id="8" name="Marcador de texto 7">
            <a:extLst>
              <a:ext uri="{FF2B5EF4-FFF2-40B4-BE49-F238E27FC236}">
                <a16:creationId xmlns:a16="http://schemas.microsoft.com/office/drawing/2014/main" xmlns="" id="{F8BF8D9D-FA7C-CE9E-07AE-288D7938C1A6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864296" y="1989315"/>
            <a:ext cx="7792024" cy="234683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60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Regular </a:t>
            </a:r>
          </a:p>
          <a:p>
            <a:pPr lvl="0"/>
            <a:r>
              <a:rPr lang="es-ES" dirty="0"/>
              <a:t>60 puntos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xmlns="" id="{0269E2A7-5379-587D-1CF3-26750B56C66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 rot="10800000" flipH="1">
            <a:off x="0" y="5477069"/>
            <a:ext cx="1380931" cy="13809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8283357"/>
      </p:ext>
    </p:extLst>
  </p:cSld>
  <p:clrMapOvr>
    <a:masterClrMapping/>
  </p:clrMapOvr>
  <p:transition spd="med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ítulo sin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" hidden="1"/>
          <p:cNvGraphicFramePr>
            <a:graphicFrameLocks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236701528"/>
              </p:ext>
            </p:extLst>
          </p:nvPr>
        </p:nvGraphicFramePr>
        <p:xfrm>
          <a:off x="0" y="1"/>
          <a:ext cx="215026" cy="1623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928" name="Diapositiva de think-cell" r:id="rId5" imgW="0" imgH="0" progId="TCLayout.ActiveDocument.1">
                  <p:embed/>
                </p:oleObj>
              </mc:Choice>
              <mc:Fallback>
                <p:oleObj name="Diapositiva de think-cell" r:id="rId5" imgW="0" imgH="0" progId="TCLayout.ActiveDocument.1">
                  <p:embed/>
                  <p:pic>
                    <p:nvPicPr>
                      <p:cNvPr id="4" name="Rectangle 1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215026" cy="16233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Círculo">
            <a:extLst>
              <a:ext uri="{FF2B5EF4-FFF2-40B4-BE49-F238E27FC236}">
                <a16:creationId xmlns:a16="http://schemas.microsoft.com/office/drawing/2014/main" xmlns="" id="{F29113B8-B936-899D-96D0-1D74BBF93794}"/>
              </a:ext>
            </a:extLst>
          </p:cNvPr>
          <p:cNvSpPr/>
          <p:nvPr userDrawn="1"/>
        </p:nvSpPr>
        <p:spPr>
          <a:xfrm>
            <a:off x="-1879827" y="384450"/>
            <a:ext cx="493539" cy="493239"/>
          </a:xfrm>
          <a:prstGeom prst="ellipse">
            <a:avLst/>
          </a:prstGeom>
          <a:solidFill>
            <a:srgbClr val="000000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R</a:t>
            </a:r>
            <a:r>
              <a:rPr lang="es-ES" sz="800" kern="0" baseline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 </a:t>
            </a: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0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G</a:t>
            </a:r>
            <a:r>
              <a:rPr lang="es-ES" sz="800" kern="0" baseline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 0</a:t>
            </a:r>
            <a:endParaRPr lang="es-ES" sz="800" kern="0" dirty="0">
              <a:solidFill>
                <a:srgbClr val="FFFFFF"/>
              </a:solidFill>
              <a:ea typeface="Arial"/>
              <a:cs typeface="Arial"/>
              <a:sym typeface="Arial"/>
            </a:endParaRP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B</a:t>
            </a:r>
            <a:r>
              <a:rPr lang="es-ES" sz="800" kern="0" baseline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 0</a:t>
            </a:r>
            <a:endParaRPr lang="es-ES" sz="800" kern="0" dirty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4" name="Círculo">
            <a:extLst>
              <a:ext uri="{FF2B5EF4-FFF2-40B4-BE49-F238E27FC236}">
                <a16:creationId xmlns:a16="http://schemas.microsoft.com/office/drawing/2014/main" xmlns="" id="{04BA4620-62EC-F5FF-D3F2-E74296AEC5BB}"/>
              </a:ext>
            </a:extLst>
          </p:cNvPr>
          <p:cNvSpPr/>
          <p:nvPr userDrawn="1"/>
        </p:nvSpPr>
        <p:spPr>
          <a:xfrm>
            <a:off x="-1235652" y="385276"/>
            <a:ext cx="491737" cy="491737"/>
          </a:xfrm>
          <a:prstGeom prst="ellipse">
            <a:avLst/>
          </a:prstGeom>
          <a:solidFill>
            <a:srgbClr val="EAEADE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000000"/>
                </a:solidFill>
                <a:ea typeface="Arial"/>
                <a:cs typeface="Arial"/>
                <a:sym typeface="Arial"/>
              </a:rPr>
              <a:t>R 234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000000"/>
                </a:solidFill>
                <a:ea typeface="Arial"/>
                <a:cs typeface="Arial"/>
                <a:sym typeface="Arial"/>
              </a:rPr>
              <a:t>G 234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000000"/>
                </a:solidFill>
                <a:ea typeface="Arial"/>
                <a:cs typeface="Arial"/>
                <a:sym typeface="Arial"/>
              </a:rPr>
              <a:t>B 222</a:t>
            </a:r>
            <a:endParaRPr sz="800" kern="0" dirty="0">
              <a:solidFill>
                <a:srgbClr val="000000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5" name="Círculo">
            <a:extLst>
              <a:ext uri="{FF2B5EF4-FFF2-40B4-BE49-F238E27FC236}">
                <a16:creationId xmlns:a16="http://schemas.microsoft.com/office/drawing/2014/main" xmlns="" id="{4A788DBB-CFC6-3F56-A757-345EF194FB31}"/>
              </a:ext>
            </a:extLst>
          </p:cNvPr>
          <p:cNvSpPr/>
          <p:nvPr userDrawn="1"/>
        </p:nvSpPr>
        <p:spPr>
          <a:xfrm>
            <a:off x="-1841727" y="1112564"/>
            <a:ext cx="493538" cy="493239"/>
          </a:xfrm>
          <a:prstGeom prst="ellipse">
            <a:avLst/>
          </a:prstGeom>
          <a:solidFill>
            <a:srgbClr val="13C045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R 19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G 192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B 69</a:t>
            </a:r>
            <a:endParaRPr sz="800" kern="0" dirty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6" name="Círculo">
            <a:extLst>
              <a:ext uri="{FF2B5EF4-FFF2-40B4-BE49-F238E27FC236}">
                <a16:creationId xmlns:a16="http://schemas.microsoft.com/office/drawing/2014/main" xmlns="" id="{3FF2EFA0-6F1C-0975-6C91-F790111DE446}"/>
              </a:ext>
            </a:extLst>
          </p:cNvPr>
          <p:cNvSpPr/>
          <p:nvPr userDrawn="1"/>
        </p:nvSpPr>
        <p:spPr>
          <a:xfrm>
            <a:off x="-1841727" y="1764152"/>
            <a:ext cx="493539" cy="493239"/>
          </a:xfrm>
          <a:prstGeom prst="ellipse">
            <a:avLst/>
          </a:prstGeom>
          <a:solidFill>
            <a:srgbClr val="348FFF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R 52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G 143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B 255</a:t>
            </a:r>
            <a:endParaRPr sz="800" kern="0" dirty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7" name="Círculo">
            <a:extLst>
              <a:ext uri="{FF2B5EF4-FFF2-40B4-BE49-F238E27FC236}">
                <a16:creationId xmlns:a16="http://schemas.microsoft.com/office/drawing/2014/main" xmlns="" id="{1C30675D-8842-F5EE-9561-5BDC7EE391E6}"/>
              </a:ext>
            </a:extLst>
          </p:cNvPr>
          <p:cNvSpPr/>
          <p:nvPr userDrawn="1"/>
        </p:nvSpPr>
        <p:spPr>
          <a:xfrm>
            <a:off x="-1236553" y="1764152"/>
            <a:ext cx="493539" cy="493239"/>
          </a:xfrm>
          <a:prstGeom prst="ellipse">
            <a:avLst/>
          </a:prstGeom>
          <a:solidFill>
            <a:srgbClr val="002A6C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R 0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G 42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B 108</a:t>
            </a:r>
            <a:endParaRPr sz="800" kern="0" dirty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8" name="Círculo">
            <a:extLst>
              <a:ext uri="{FF2B5EF4-FFF2-40B4-BE49-F238E27FC236}">
                <a16:creationId xmlns:a16="http://schemas.microsoft.com/office/drawing/2014/main" xmlns="" id="{F81B9D27-9E65-0BC0-76C5-1A851D7DB685}"/>
              </a:ext>
            </a:extLst>
          </p:cNvPr>
          <p:cNvSpPr/>
          <p:nvPr userDrawn="1"/>
        </p:nvSpPr>
        <p:spPr>
          <a:xfrm>
            <a:off x="-621291" y="385350"/>
            <a:ext cx="491737" cy="491737"/>
          </a:xfrm>
          <a:prstGeom prst="ellipse">
            <a:avLst/>
          </a:prstGeom>
          <a:solidFill>
            <a:srgbClr val="7EFF45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R 126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G 255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B 69</a:t>
            </a:r>
            <a:endParaRPr sz="800" kern="0" dirty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9" name="Círculo">
            <a:extLst>
              <a:ext uri="{FF2B5EF4-FFF2-40B4-BE49-F238E27FC236}">
                <a16:creationId xmlns:a16="http://schemas.microsoft.com/office/drawing/2014/main" xmlns="" id="{68EDD6DC-728E-06C2-9129-F92BED5C1C8D}"/>
              </a:ext>
            </a:extLst>
          </p:cNvPr>
          <p:cNvSpPr/>
          <p:nvPr userDrawn="1"/>
        </p:nvSpPr>
        <p:spPr>
          <a:xfrm>
            <a:off x="-1236553" y="1113083"/>
            <a:ext cx="493539" cy="493239"/>
          </a:xfrm>
          <a:prstGeom prst="ellipse">
            <a:avLst/>
          </a:prstGeom>
          <a:solidFill>
            <a:srgbClr val="004C14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r>
              <a:rPr lang="es-ES" sz="800" kern="0" dirty="0">
                <a:solidFill>
                  <a:srgbClr val="FFFFFF"/>
                </a:solidFill>
                <a:latin typeface="Helvetica Neue Medium"/>
                <a:ea typeface="Helvetica Neue Medium"/>
                <a:cs typeface="Arial" panose="020B0604020202020204" pitchFamily="34" charset="0"/>
                <a:sym typeface="Helvetica Neue Medium"/>
              </a:rPr>
              <a:t>R 0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r>
              <a:rPr lang="es-ES" sz="800" kern="0" dirty="0">
                <a:solidFill>
                  <a:srgbClr val="FFFFFF"/>
                </a:solidFill>
                <a:latin typeface="Helvetica Neue Medium"/>
                <a:ea typeface="Helvetica Neue Medium"/>
                <a:cs typeface="Arial" panose="020B0604020202020204" pitchFamily="34" charset="0"/>
                <a:sym typeface="Helvetica Neue Medium"/>
              </a:rPr>
              <a:t>G 76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r>
              <a:rPr lang="es-ES" sz="800" kern="0" dirty="0">
                <a:solidFill>
                  <a:srgbClr val="FFFFFF"/>
                </a:solidFill>
                <a:latin typeface="Helvetica Neue Medium"/>
                <a:ea typeface="Helvetica Neue Medium"/>
                <a:cs typeface="Arial" panose="020B0604020202020204" pitchFamily="34" charset="0"/>
                <a:sym typeface="Helvetica Neue Medium"/>
              </a:rPr>
              <a:t>B 20</a:t>
            </a:r>
            <a:endParaRPr sz="800" kern="0" dirty="0">
              <a:solidFill>
                <a:srgbClr val="FFFFFF"/>
              </a:solidFill>
              <a:latin typeface="Helvetica Neue Medium"/>
              <a:ea typeface="Helvetica Neue Medium"/>
              <a:cs typeface="Arial" panose="020B0604020202020204" pitchFamily="34" charset="0"/>
              <a:sym typeface="Helvetica Neue Medium"/>
            </a:endParaRPr>
          </a:p>
        </p:txBody>
      </p:sp>
      <p:sp>
        <p:nvSpPr>
          <p:cNvPr id="20" name="Rectángulo 19">
            <a:extLst>
              <a:ext uri="{FF2B5EF4-FFF2-40B4-BE49-F238E27FC236}">
                <a16:creationId xmlns:a16="http://schemas.microsoft.com/office/drawing/2014/main" xmlns="" id="{5E8DADBB-AB6E-2DF8-1810-1EB41C2E208B}"/>
              </a:ext>
            </a:extLst>
          </p:cNvPr>
          <p:cNvSpPr/>
          <p:nvPr userDrawn="1"/>
        </p:nvSpPr>
        <p:spPr>
          <a:xfrm>
            <a:off x="-1841728" y="129594"/>
            <a:ext cx="1620000" cy="27349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hangingPunct="0">
              <a:spcBef>
                <a:spcPts val="0"/>
              </a:spcBef>
            </a:pPr>
            <a:r>
              <a:rPr lang="es-ES" sz="1000" kern="0" dirty="0">
                <a:solidFill>
                  <a:srgbClr val="616161"/>
                </a:solidFill>
                <a:ea typeface="Helvetica Neue Medium"/>
                <a:cs typeface="Helvetica Neue Medium"/>
                <a:sym typeface="Helvetica Neue Medium"/>
              </a:rPr>
              <a:t>Primarios de marca</a:t>
            </a:r>
            <a:endParaRPr lang="es-CL" sz="1000" kern="0" dirty="0">
              <a:solidFill>
                <a:srgbClr val="616161"/>
              </a:solidFill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1" name="Rectángulo 20">
            <a:extLst>
              <a:ext uri="{FF2B5EF4-FFF2-40B4-BE49-F238E27FC236}">
                <a16:creationId xmlns:a16="http://schemas.microsoft.com/office/drawing/2014/main" xmlns="" id="{82A7ECF1-FA51-C626-43A6-09E1313FE644}"/>
              </a:ext>
            </a:extLst>
          </p:cNvPr>
          <p:cNvSpPr/>
          <p:nvPr userDrawn="1"/>
        </p:nvSpPr>
        <p:spPr>
          <a:xfrm>
            <a:off x="-1841728" y="863836"/>
            <a:ext cx="1872000" cy="27349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hangingPunct="0">
              <a:spcBef>
                <a:spcPts val="0"/>
              </a:spcBef>
            </a:pPr>
            <a:r>
              <a:rPr lang="es-ES" sz="1000" kern="0" dirty="0" err="1">
                <a:solidFill>
                  <a:srgbClr val="616161"/>
                </a:solidFill>
                <a:ea typeface="Helvetica Neue Medium"/>
                <a:cs typeface="Helvetica Neue Medium"/>
                <a:sym typeface="Helvetica Neue Medium"/>
              </a:rPr>
              <a:t>Masterbrand</a:t>
            </a:r>
            <a:r>
              <a:rPr lang="es-CL" sz="1000" kern="0" dirty="0">
                <a:solidFill>
                  <a:srgbClr val="616161"/>
                </a:solidFill>
                <a:ea typeface="Helvetica Neue Medium"/>
                <a:cs typeface="Helvetica Neue Medium"/>
                <a:sym typeface="Helvetica Neue Medium"/>
              </a:rPr>
              <a:t> y Laboral</a:t>
            </a:r>
            <a:endParaRPr lang="es-ES" sz="1000" kern="0" dirty="0">
              <a:solidFill>
                <a:srgbClr val="616161"/>
              </a:solidFill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2" name="Rectángulo 21">
            <a:extLst>
              <a:ext uri="{FF2B5EF4-FFF2-40B4-BE49-F238E27FC236}">
                <a16:creationId xmlns:a16="http://schemas.microsoft.com/office/drawing/2014/main" xmlns="" id="{F8C6C902-94F7-B828-2E7C-62869A57FED6}"/>
              </a:ext>
            </a:extLst>
          </p:cNvPr>
          <p:cNvSpPr/>
          <p:nvPr userDrawn="1"/>
        </p:nvSpPr>
        <p:spPr>
          <a:xfrm>
            <a:off x="-1841728" y="1605802"/>
            <a:ext cx="1872000" cy="16773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hangingPunct="0">
              <a:spcBef>
                <a:spcPts val="0"/>
              </a:spcBef>
            </a:pPr>
            <a:r>
              <a:rPr lang="es-ES" sz="1000" kern="0" dirty="0">
                <a:solidFill>
                  <a:srgbClr val="616161"/>
                </a:solidFill>
                <a:ea typeface="Helvetica Neue Medium"/>
                <a:cs typeface="Helvetica Neue Medium"/>
                <a:sym typeface="Helvetica Neue Medium"/>
              </a:rPr>
              <a:t>Salud</a:t>
            </a:r>
            <a:endParaRPr lang="es-CL" sz="1000" kern="0" dirty="0">
              <a:solidFill>
                <a:srgbClr val="616161"/>
              </a:solidFill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3" name="Círculo">
            <a:extLst>
              <a:ext uri="{FF2B5EF4-FFF2-40B4-BE49-F238E27FC236}">
                <a16:creationId xmlns:a16="http://schemas.microsoft.com/office/drawing/2014/main" xmlns="" id="{40C15E83-A02F-6DAB-17D6-DF01E747DB5C}"/>
              </a:ext>
            </a:extLst>
          </p:cNvPr>
          <p:cNvSpPr/>
          <p:nvPr userDrawn="1"/>
        </p:nvSpPr>
        <p:spPr>
          <a:xfrm>
            <a:off x="-1843005" y="2448887"/>
            <a:ext cx="493539" cy="493239"/>
          </a:xfrm>
          <a:prstGeom prst="ellipse">
            <a:avLst/>
          </a:prstGeom>
          <a:solidFill>
            <a:srgbClr val="8B73FF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R 139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G 115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B 255</a:t>
            </a:r>
            <a:endParaRPr sz="800" kern="0" dirty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24" name="Círculo">
            <a:extLst>
              <a:ext uri="{FF2B5EF4-FFF2-40B4-BE49-F238E27FC236}">
                <a16:creationId xmlns:a16="http://schemas.microsoft.com/office/drawing/2014/main" xmlns="" id="{2EF59052-6854-FAEE-36AF-7131495A9BDF}"/>
              </a:ext>
            </a:extLst>
          </p:cNvPr>
          <p:cNvSpPr/>
          <p:nvPr userDrawn="1"/>
        </p:nvSpPr>
        <p:spPr>
          <a:xfrm>
            <a:off x="-1237831" y="2448887"/>
            <a:ext cx="493539" cy="493239"/>
          </a:xfrm>
          <a:prstGeom prst="ellipse">
            <a:avLst/>
          </a:prstGeom>
          <a:solidFill>
            <a:srgbClr val="1E117C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R 30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G 17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B 124</a:t>
            </a:r>
            <a:endParaRPr sz="800" kern="0" dirty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25" name="Rectángulo 24">
            <a:extLst>
              <a:ext uri="{FF2B5EF4-FFF2-40B4-BE49-F238E27FC236}">
                <a16:creationId xmlns:a16="http://schemas.microsoft.com/office/drawing/2014/main" xmlns="" id="{DB6C9D74-8BC3-4EB0-CE4A-407DAC03ACCF}"/>
              </a:ext>
            </a:extLst>
          </p:cNvPr>
          <p:cNvSpPr/>
          <p:nvPr userDrawn="1"/>
        </p:nvSpPr>
        <p:spPr>
          <a:xfrm>
            <a:off x="-1843006" y="2242007"/>
            <a:ext cx="1872000" cy="21626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hangingPunct="0">
              <a:spcBef>
                <a:spcPts val="0"/>
              </a:spcBef>
            </a:pPr>
            <a:r>
              <a:rPr lang="es-ES" sz="1000" kern="0" dirty="0">
                <a:solidFill>
                  <a:srgbClr val="616161"/>
                </a:solidFill>
                <a:ea typeface="Helvetica Neue Medium"/>
                <a:cs typeface="Helvetica Neue Medium"/>
                <a:sym typeface="Helvetica Neue Medium"/>
              </a:rPr>
              <a:t>Servicios</a:t>
            </a:r>
            <a:endParaRPr lang="es-CL" sz="1000" kern="0" dirty="0">
              <a:solidFill>
                <a:srgbClr val="616161"/>
              </a:solidFill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Marcador de texto 7">
            <a:extLst>
              <a:ext uri="{FF2B5EF4-FFF2-40B4-BE49-F238E27FC236}">
                <a16:creationId xmlns:a16="http://schemas.microsoft.com/office/drawing/2014/main" xmlns="" id="{1943F51B-EF78-1CE1-9216-D1974F345A1E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9847327" cy="52387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Regular 20</a:t>
            </a:r>
          </a:p>
        </p:txBody>
      </p:sp>
      <p:sp>
        <p:nvSpPr>
          <p:cNvPr id="6" name="Marcador de texto 7">
            <a:extLst>
              <a:ext uri="{FF2B5EF4-FFF2-40B4-BE49-F238E27FC236}">
                <a16:creationId xmlns:a16="http://schemas.microsoft.com/office/drawing/2014/main" xmlns="" id="{3A14FED0-8546-451A-A14F-0D543A261EAE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1159880"/>
            <a:ext cx="9847327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3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Subtítulo Arial 16</a:t>
            </a:r>
            <a:endParaRPr lang="es-CL" dirty="0"/>
          </a:p>
        </p:txBody>
      </p:sp>
      <p:cxnSp>
        <p:nvCxnSpPr>
          <p:cNvPr id="9" name="Conector recto 18">
            <a:extLst>
              <a:ext uri="{FF2B5EF4-FFF2-40B4-BE49-F238E27FC236}">
                <a16:creationId xmlns:a16="http://schemas.microsoft.com/office/drawing/2014/main" xmlns="" id="{A6DD75FD-44FF-78AD-787E-BE3CCDDE08D6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3" name="Marcador de texto 7">
            <a:extLst>
              <a:ext uri="{FF2B5EF4-FFF2-40B4-BE49-F238E27FC236}">
                <a16:creationId xmlns:a16="http://schemas.microsoft.com/office/drawing/2014/main" xmlns="" id="{5F3F7008-4A10-D5C1-C2AF-95454CF42D40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436561" y="6617652"/>
            <a:ext cx="10964127" cy="22913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900" b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Pie de página Arial 9</a:t>
            </a:r>
          </a:p>
        </p:txBody>
      </p:sp>
      <p:sp>
        <p:nvSpPr>
          <p:cNvPr id="26" name="Marcador de número de diapositiva 1">
            <a:extLst>
              <a:ext uri="{FF2B5EF4-FFF2-40B4-BE49-F238E27FC236}">
                <a16:creationId xmlns:a16="http://schemas.microsoft.com/office/drawing/2014/main" xmlns="" id="{21C80C0E-D9E4-924A-F302-EF84E1C541CC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11552237" y="6617652"/>
            <a:ext cx="505443" cy="240348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dirty="0"/>
          </a:p>
        </p:txBody>
      </p:sp>
      <p:pic>
        <p:nvPicPr>
          <p:cNvPr id="5" name="Picture 1" descr="A green sign with white text&#10;&#10;Description automatically generated with low confidence">
            <a:extLst>
              <a:ext uri="{FF2B5EF4-FFF2-40B4-BE49-F238E27FC236}">
                <a16:creationId xmlns:a16="http://schemas.microsoft.com/office/drawing/2014/main" xmlns="" id="{C106790C-406C-F654-4183-98176C2B8C6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98891" y="452438"/>
            <a:ext cx="523875" cy="523875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3144661073"/>
      </p:ext>
    </p:extLst>
  </p:cSld>
  <p:clrMapOvr>
    <a:masterClrMapping/>
  </p:clrMapOvr>
  <p:transition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8_Título con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41332649"/>
              </p:ext>
            </p:extLst>
          </p:nvPr>
        </p:nvGraphicFramePr>
        <p:xfrm>
          <a:off x="0" y="1"/>
          <a:ext cx="215026" cy="1623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976" name="Diapositiva de think-cell" r:id="rId4" imgW="0" imgH="0" progId="TCLayout.ActiveDocument.1">
                  <p:embed/>
                </p:oleObj>
              </mc:Choice>
              <mc:Fallback>
                <p:oleObj name="Diapositiva de think-cell" r:id="rId4" imgW="0" imgH="0" progId="TCLayout.ActiveDocument.1">
                  <p:embed/>
                  <p:pic>
                    <p:nvPicPr>
                      <p:cNvPr id="4" name="Rectangle 1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215026" cy="16233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Marcador de texto 7">
            <a:extLst>
              <a:ext uri="{FF2B5EF4-FFF2-40B4-BE49-F238E27FC236}">
                <a16:creationId xmlns:a16="http://schemas.microsoft.com/office/drawing/2014/main" xmlns="" id="{60540B44-8664-9E9A-1B51-E35F4E3BA253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449262" y="496571"/>
            <a:ext cx="9849281" cy="52387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s-ES" sz="2000" b="0" i="0" u="none" strike="noStrike" cap="none" spc="0" baseline="0" dirty="0">
                <a:solidFill>
                  <a:schemeClr val="accent5"/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Regular 20</a:t>
            </a:r>
          </a:p>
        </p:txBody>
      </p:sp>
      <p:sp>
        <p:nvSpPr>
          <p:cNvPr id="14" name="Marcador de texto 7">
            <a:extLst>
              <a:ext uri="{FF2B5EF4-FFF2-40B4-BE49-F238E27FC236}">
                <a16:creationId xmlns:a16="http://schemas.microsoft.com/office/drawing/2014/main" xmlns="" id="{9AC2FA9E-A62F-2530-7FC5-87931CF25B46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449262" y="1159880"/>
            <a:ext cx="9849281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s-CL" sz="1600" b="0" i="0" u="none" strike="noStrike" cap="none" spc="0" baseline="0" dirty="0">
                <a:solidFill>
                  <a:schemeClr val="accent3">
                    <a:lumMod val="75000"/>
                    <a:lumOff val="25000"/>
                  </a:schemeClr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Subtítulo Arial 16</a:t>
            </a:r>
            <a:endParaRPr lang="es-CL" dirty="0"/>
          </a:p>
        </p:txBody>
      </p:sp>
      <p:cxnSp>
        <p:nvCxnSpPr>
          <p:cNvPr id="15" name="Conector recto 18">
            <a:extLst>
              <a:ext uri="{FF2B5EF4-FFF2-40B4-BE49-F238E27FC236}">
                <a16:creationId xmlns:a16="http://schemas.microsoft.com/office/drawing/2014/main" xmlns="" id="{34157F75-3942-DD21-0DCA-9E6F5345198C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5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2" name="Marcador de texto 7">
            <a:extLst>
              <a:ext uri="{FF2B5EF4-FFF2-40B4-BE49-F238E27FC236}">
                <a16:creationId xmlns:a16="http://schemas.microsoft.com/office/drawing/2014/main" xmlns="" id="{5F4608A8-6038-FA17-2E9D-677484DDB9EC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436561" y="6617652"/>
            <a:ext cx="10964127" cy="22913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900" b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Pie de página Arial 9</a:t>
            </a:r>
          </a:p>
        </p:txBody>
      </p:sp>
      <p:sp>
        <p:nvSpPr>
          <p:cNvPr id="3" name="Marcador de número de diapositiva 1">
            <a:extLst>
              <a:ext uri="{FF2B5EF4-FFF2-40B4-BE49-F238E27FC236}">
                <a16:creationId xmlns:a16="http://schemas.microsoft.com/office/drawing/2014/main" xmlns="" id="{C370C86E-9455-6F60-FDCA-8338B1E62F10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11552237" y="6617652"/>
            <a:ext cx="505443" cy="240348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dirty="0"/>
          </a:p>
        </p:txBody>
      </p:sp>
      <p:sp>
        <p:nvSpPr>
          <p:cNvPr id="5" name="Círculo">
            <a:extLst>
              <a:ext uri="{FF2B5EF4-FFF2-40B4-BE49-F238E27FC236}">
                <a16:creationId xmlns:a16="http://schemas.microsoft.com/office/drawing/2014/main" xmlns="" id="{B013BD41-287C-1A57-DF87-979E3985710F}"/>
              </a:ext>
            </a:extLst>
          </p:cNvPr>
          <p:cNvSpPr/>
          <p:nvPr userDrawn="1"/>
        </p:nvSpPr>
        <p:spPr>
          <a:xfrm>
            <a:off x="-1879827" y="384450"/>
            <a:ext cx="493539" cy="493239"/>
          </a:xfrm>
          <a:prstGeom prst="ellipse">
            <a:avLst/>
          </a:prstGeom>
          <a:solidFill>
            <a:srgbClr val="000000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R</a:t>
            </a:r>
            <a:r>
              <a:rPr lang="es-ES" sz="800" kern="0" baseline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 </a:t>
            </a: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0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G</a:t>
            </a:r>
            <a:r>
              <a:rPr lang="es-ES" sz="800" kern="0" baseline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 0</a:t>
            </a:r>
            <a:endParaRPr lang="es-ES" sz="800" kern="0" dirty="0">
              <a:solidFill>
                <a:srgbClr val="FFFFFF"/>
              </a:solidFill>
              <a:ea typeface="Arial"/>
              <a:cs typeface="Arial"/>
              <a:sym typeface="Arial"/>
            </a:endParaRP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B</a:t>
            </a:r>
            <a:r>
              <a:rPr lang="es-ES" sz="800" kern="0" baseline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 0</a:t>
            </a:r>
            <a:endParaRPr lang="es-ES" sz="800" kern="0" dirty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7" name="Círculo">
            <a:extLst>
              <a:ext uri="{FF2B5EF4-FFF2-40B4-BE49-F238E27FC236}">
                <a16:creationId xmlns:a16="http://schemas.microsoft.com/office/drawing/2014/main" xmlns="" id="{038593C4-09B1-CC43-03A6-1E570B7E9230}"/>
              </a:ext>
            </a:extLst>
          </p:cNvPr>
          <p:cNvSpPr/>
          <p:nvPr userDrawn="1"/>
        </p:nvSpPr>
        <p:spPr>
          <a:xfrm>
            <a:off x="-1235652" y="385276"/>
            <a:ext cx="491737" cy="491737"/>
          </a:xfrm>
          <a:prstGeom prst="ellipse">
            <a:avLst/>
          </a:prstGeom>
          <a:solidFill>
            <a:srgbClr val="EAEADE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000000"/>
                </a:solidFill>
                <a:ea typeface="Arial"/>
                <a:cs typeface="Arial"/>
                <a:sym typeface="Arial"/>
              </a:rPr>
              <a:t>R 234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000000"/>
                </a:solidFill>
                <a:ea typeface="Arial"/>
                <a:cs typeface="Arial"/>
                <a:sym typeface="Arial"/>
              </a:rPr>
              <a:t>G 234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000000"/>
                </a:solidFill>
                <a:ea typeface="Arial"/>
                <a:cs typeface="Arial"/>
                <a:sym typeface="Arial"/>
              </a:rPr>
              <a:t>B 222</a:t>
            </a:r>
            <a:endParaRPr sz="800" kern="0" dirty="0">
              <a:solidFill>
                <a:srgbClr val="000000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9" name="Círculo">
            <a:extLst>
              <a:ext uri="{FF2B5EF4-FFF2-40B4-BE49-F238E27FC236}">
                <a16:creationId xmlns:a16="http://schemas.microsoft.com/office/drawing/2014/main" xmlns="" id="{64C3536A-DB1D-5F9D-A859-EF83745A0F3C}"/>
              </a:ext>
            </a:extLst>
          </p:cNvPr>
          <p:cNvSpPr/>
          <p:nvPr userDrawn="1"/>
        </p:nvSpPr>
        <p:spPr>
          <a:xfrm>
            <a:off x="-1841727" y="1112564"/>
            <a:ext cx="493538" cy="493239"/>
          </a:xfrm>
          <a:prstGeom prst="ellipse">
            <a:avLst/>
          </a:prstGeom>
          <a:solidFill>
            <a:srgbClr val="13C045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R 19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G 192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B 69</a:t>
            </a:r>
            <a:endParaRPr sz="800" kern="0" dirty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0" name="Círculo">
            <a:extLst>
              <a:ext uri="{FF2B5EF4-FFF2-40B4-BE49-F238E27FC236}">
                <a16:creationId xmlns:a16="http://schemas.microsoft.com/office/drawing/2014/main" xmlns="" id="{F0E96976-20F5-C9D2-DB6C-2972F6ADC8ED}"/>
              </a:ext>
            </a:extLst>
          </p:cNvPr>
          <p:cNvSpPr/>
          <p:nvPr userDrawn="1"/>
        </p:nvSpPr>
        <p:spPr>
          <a:xfrm>
            <a:off x="-1841727" y="1764152"/>
            <a:ext cx="493539" cy="493239"/>
          </a:xfrm>
          <a:prstGeom prst="ellipse">
            <a:avLst/>
          </a:prstGeom>
          <a:solidFill>
            <a:srgbClr val="348FFF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R 52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G 143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B 255</a:t>
            </a:r>
            <a:endParaRPr sz="800" kern="0" dirty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1" name="Círculo">
            <a:extLst>
              <a:ext uri="{FF2B5EF4-FFF2-40B4-BE49-F238E27FC236}">
                <a16:creationId xmlns:a16="http://schemas.microsoft.com/office/drawing/2014/main" xmlns="" id="{8284F20C-5834-107A-6C61-4581EF210267}"/>
              </a:ext>
            </a:extLst>
          </p:cNvPr>
          <p:cNvSpPr/>
          <p:nvPr userDrawn="1"/>
        </p:nvSpPr>
        <p:spPr>
          <a:xfrm>
            <a:off x="-1236553" y="1764152"/>
            <a:ext cx="493539" cy="493239"/>
          </a:xfrm>
          <a:prstGeom prst="ellipse">
            <a:avLst/>
          </a:prstGeom>
          <a:solidFill>
            <a:srgbClr val="002A6C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R 0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G 42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B 108</a:t>
            </a:r>
            <a:endParaRPr sz="800" kern="0" dirty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6" name="Círculo">
            <a:extLst>
              <a:ext uri="{FF2B5EF4-FFF2-40B4-BE49-F238E27FC236}">
                <a16:creationId xmlns:a16="http://schemas.microsoft.com/office/drawing/2014/main" xmlns="" id="{B90B81C4-637D-FE03-E21B-DA820BA34052}"/>
              </a:ext>
            </a:extLst>
          </p:cNvPr>
          <p:cNvSpPr/>
          <p:nvPr userDrawn="1"/>
        </p:nvSpPr>
        <p:spPr>
          <a:xfrm>
            <a:off x="-621291" y="385350"/>
            <a:ext cx="491737" cy="491737"/>
          </a:xfrm>
          <a:prstGeom prst="ellipse">
            <a:avLst/>
          </a:prstGeom>
          <a:solidFill>
            <a:srgbClr val="7EFF45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R 126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G 255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B 69</a:t>
            </a:r>
            <a:endParaRPr sz="800" kern="0" dirty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7" name="Círculo">
            <a:extLst>
              <a:ext uri="{FF2B5EF4-FFF2-40B4-BE49-F238E27FC236}">
                <a16:creationId xmlns:a16="http://schemas.microsoft.com/office/drawing/2014/main" xmlns="" id="{EF616713-76ED-1DF7-A5AF-E647F10E69B4}"/>
              </a:ext>
            </a:extLst>
          </p:cNvPr>
          <p:cNvSpPr/>
          <p:nvPr userDrawn="1"/>
        </p:nvSpPr>
        <p:spPr>
          <a:xfrm>
            <a:off x="-1236553" y="1113083"/>
            <a:ext cx="493539" cy="493239"/>
          </a:xfrm>
          <a:prstGeom prst="ellipse">
            <a:avLst/>
          </a:prstGeom>
          <a:solidFill>
            <a:srgbClr val="004C14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r>
              <a:rPr lang="es-ES" sz="800" kern="0" dirty="0">
                <a:solidFill>
                  <a:srgbClr val="FFFFFF"/>
                </a:solidFill>
                <a:latin typeface="Helvetica Neue Medium"/>
                <a:ea typeface="Helvetica Neue Medium"/>
                <a:cs typeface="Arial" panose="020B0604020202020204" pitchFamily="34" charset="0"/>
                <a:sym typeface="Helvetica Neue Medium"/>
              </a:rPr>
              <a:t>R 0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r>
              <a:rPr lang="es-ES" sz="800" kern="0" dirty="0">
                <a:solidFill>
                  <a:srgbClr val="FFFFFF"/>
                </a:solidFill>
                <a:latin typeface="Helvetica Neue Medium"/>
                <a:ea typeface="Helvetica Neue Medium"/>
                <a:cs typeface="Arial" panose="020B0604020202020204" pitchFamily="34" charset="0"/>
                <a:sym typeface="Helvetica Neue Medium"/>
              </a:rPr>
              <a:t>G 76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r>
              <a:rPr lang="es-ES" sz="800" kern="0" dirty="0">
                <a:solidFill>
                  <a:srgbClr val="FFFFFF"/>
                </a:solidFill>
                <a:latin typeface="Helvetica Neue Medium"/>
                <a:ea typeface="Helvetica Neue Medium"/>
                <a:cs typeface="Arial" panose="020B0604020202020204" pitchFamily="34" charset="0"/>
                <a:sym typeface="Helvetica Neue Medium"/>
              </a:rPr>
              <a:t>B 20</a:t>
            </a:r>
            <a:endParaRPr sz="800" kern="0" dirty="0">
              <a:solidFill>
                <a:srgbClr val="FFFFFF"/>
              </a:solidFill>
              <a:latin typeface="Helvetica Neue Medium"/>
              <a:ea typeface="Helvetica Neue Medium"/>
              <a:cs typeface="Arial" panose="020B0604020202020204" pitchFamily="34" charset="0"/>
              <a:sym typeface="Helvetica Neue Medium"/>
            </a:endParaRPr>
          </a:p>
        </p:txBody>
      </p:sp>
      <p:sp>
        <p:nvSpPr>
          <p:cNvPr id="18" name="Rectángulo 17">
            <a:extLst>
              <a:ext uri="{FF2B5EF4-FFF2-40B4-BE49-F238E27FC236}">
                <a16:creationId xmlns:a16="http://schemas.microsoft.com/office/drawing/2014/main" xmlns="" id="{E84A4A24-CB9F-C923-AFB2-BB380632CC49}"/>
              </a:ext>
            </a:extLst>
          </p:cNvPr>
          <p:cNvSpPr/>
          <p:nvPr userDrawn="1"/>
        </p:nvSpPr>
        <p:spPr>
          <a:xfrm>
            <a:off x="-1841728" y="129594"/>
            <a:ext cx="1620000" cy="27349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hangingPunct="0">
              <a:spcBef>
                <a:spcPts val="0"/>
              </a:spcBef>
            </a:pPr>
            <a:r>
              <a:rPr lang="es-ES" sz="1000" kern="0" dirty="0">
                <a:solidFill>
                  <a:srgbClr val="616161"/>
                </a:solidFill>
                <a:ea typeface="Helvetica Neue Medium"/>
                <a:cs typeface="Helvetica Neue Medium"/>
                <a:sym typeface="Helvetica Neue Medium"/>
              </a:rPr>
              <a:t>Primarios de marca</a:t>
            </a:r>
            <a:endParaRPr lang="es-CL" sz="1000" kern="0" dirty="0">
              <a:solidFill>
                <a:srgbClr val="616161"/>
              </a:solidFill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9" name="Rectángulo 18">
            <a:extLst>
              <a:ext uri="{FF2B5EF4-FFF2-40B4-BE49-F238E27FC236}">
                <a16:creationId xmlns:a16="http://schemas.microsoft.com/office/drawing/2014/main" xmlns="" id="{0ABF032F-0128-3042-C572-D475BC9EE629}"/>
              </a:ext>
            </a:extLst>
          </p:cNvPr>
          <p:cNvSpPr/>
          <p:nvPr userDrawn="1"/>
        </p:nvSpPr>
        <p:spPr>
          <a:xfrm>
            <a:off x="-1841728" y="863836"/>
            <a:ext cx="1872000" cy="27349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hangingPunct="0">
              <a:spcBef>
                <a:spcPts val="0"/>
              </a:spcBef>
            </a:pPr>
            <a:r>
              <a:rPr lang="es-ES" sz="1000" kern="0" dirty="0" err="1">
                <a:solidFill>
                  <a:srgbClr val="616161"/>
                </a:solidFill>
                <a:ea typeface="Helvetica Neue Medium"/>
                <a:cs typeface="Helvetica Neue Medium"/>
                <a:sym typeface="Helvetica Neue Medium"/>
              </a:rPr>
              <a:t>Masterbrand</a:t>
            </a:r>
            <a:r>
              <a:rPr lang="es-CL" sz="1000" kern="0" dirty="0">
                <a:solidFill>
                  <a:srgbClr val="616161"/>
                </a:solidFill>
                <a:ea typeface="Helvetica Neue Medium"/>
                <a:cs typeface="Helvetica Neue Medium"/>
                <a:sym typeface="Helvetica Neue Medium"/>
              </a:rPr>
              <a:t> y Laboral</a:t>
            </a:r>
            <a:endParaRPr lang="es-ES" sz="1000" kern="0" dirty="0">
              <a:solidFill>
                <a:srgbClr val="616161"/>
              </a:solidFill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0" name="Rectángulo 19">
            <a:extLst>
              <a:ext uri="{FF2B5EF4-FFF2-40B4-BE49-F238E27FC236}">
                <a16:creationId xmlns:a16="http://schemas.microsoft.com/office/drawing/2014/main" xmlns="" id="{3406777C-366A-BBCE-2030-CB4475CFAEAC}"/>
              </a:ext>
            </a:extLst>
          </p:cNvPr>
          <p:cNvSpPr/>
          <p:nvPr userDrawn="1"/>
        </p:nvSpPr>
        <p:spPr>
          <a:xfrm>
            <a:off x="-1841728" y="1605802"/>
            <a:ext cx="1872000" cy="16773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hangingPunct="0">
              <a:spcBef>
                <a:spcPts val="0"/>
              </a:spcBef>
            </a:pPr>
            <a:r>
              <a:rPr lang="es-ES" sz="1000" kern="0" dirty="0">
                <a:solidFill>
                  <a:srgbClr val="616161"/>
                </a:solidFill>
                <a:ea typeface="Helvetica Neue Medium"/>
                <a:cs typeface="Helvetica Neue Medium"/>
                <a:sym typeface="Helvetica Neue Medium"/>
              </a:rPr>
              <a:t>Salud</a:t>
            </a:r>
            <a:endParaRPr lang="es-CL" sz="1000" kern="0" dirty="0">
              <a:solidFill>
                <a:srgbClr val="616161"/>
              </a:solidFill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1" name="Círculo">
            <a:extLst>
              <a:ext uri="{FF2B5EF4-FFF2-40B4-BE49-F238E27FC236}">
                <a16:creationId xmlns:a16="http://schemas.microsoft.com/office/drawing/2014/main" xmlns="" id="{12C0B682-0695-8ABA-7305-F19C5602C945}"/>
              </a:ext>
            </a:extLst>
          </p:cNvPr>
          <p:cNvSpPr/>
          <p:nvPr userDrawn="1"/>
        </p:nvSpPr>
        <p:spPr>
          <a:xfrm>
            <a:off x="-1843005" y="2448887"/>
            <a:ext cx="493539" cy="493239"/>
          </a:xfrm>
          <a:prstGeom prst="ellipse">
            <a:avLst/>
          </a:prstGeom>
          <a:solidFill>
            <a:srgbClr val="8B73FF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R 139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G 115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B 255</a:t>
            </a:r>
            <a:endParaRPr sz="800" kern="0" dirty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22" name="Círculo">
            <a:extLst>
              <a:ext uri="{FF2B5EF4-FFF2-40B4-BE49-F238E27FC236}">
                <a16:creationId xmlns:a16="http://schemas.microsoft.com/office/drawing/2014/main" xmlns="" id="{DB299067-D620-B2F3-D94C-C61BF550AE28}"/>
              </a:ext>
            </a:extLst>
          </p:cNvPr>
          <p:cNvSpPr/>
          <p:nvPr userDrawn="1"/>
        </p:nvSpPr>
        <p:spPr>
          <a:xfrm>
            <a:off x="-1237831" y="2448887"/>
            <a:ext cx="493539" cy="493239"/>
          </a:xfrm>
          <a:prstGeom prst="ellipse">
            <a:avLst/>
          </a:prstGeom>
          <a:solidFill>
            <a:srgbClr val="1E117C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R 30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G 17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B 124</a:t>
            </a:r>
            <a:endParaRPr sz="800" kern="0" dirty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23" name="Rectángulo 22">
            <a:extLst>
              <a:ext uri="{FF2B5EF4-FFF2-40B4-BE49-F238E27FC236}">
                <a16:creationId xmlns:a16="http://schemas.microsoft.com/office/drawing/2014/main" xmlns="" id="{82552B1E-5A98-21B5-3B5F-3DFF71BE7B09}"/>
              </a:ext>
            </a:extLst>
          </p:cNvPr>
          <p:cNvSpPr/>
          <p:nvPr userDrawn="1"/>
        </p:nvSpPr>
        <p:spPr>
          <a:xfrm>
            <a:off x="-1843006" y="2242007"/>
            <a:ext cx="1872000" cy="21626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hangingPunct="0">
              <a:spcBef>
                <a:spcPts val="0"/>
              </a:spcBef>
            </a:pPr>
            <a:r>
              <a:rPr lang="es-ES" sz="1000" kern="0" dirty="0">
                <a:solidFill>
                  <a:srgbClr val="616161"/>
                </a:solidFill>
                <a:ea typeface="Helvetica Neue Medium"/>
                <a:cs typeface="Helvetica Neue Medium"/>
                <a:sym typeface="Helvetica Neue Medium"/>
              </a:rPr>
              <a:t>Servicios</a:t>
            </a:r>
            <a:endParaRPr lang="es-CL" sz="1000" kern="0" dirty="0">
              <a:solidFill>
                <a:srgbClr val="616161"/>
              </a:solidFill>
              <a:ea typeface="Helvetica Neue Medium"/>
              <a:cs typeface="Helvetica Neue Medium"/>
              <a:sym typeface="Helvetica Neue Medium"/>
            </a:endParaRPr>
          </a:p>
        </p:txBody>
      </p:sp>
      <p:pic>
        <p:nvPicPr>
          <p:cNvPr id="6" name="Picture 11">
            <a:extLst>
              <a:ext uri="{FF2B5EF4-FFF2-40B4-BE49-F238E27FC236}">
                <a16:creationId xmlns:a16="http://schemas.microsoft.com/office/drawing/2014/main" xmlns="" id="{766BE09E-5357-EEDE-AED0-1BFD1724A19F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0458369" y="457795"/>
            <a:ext cx="1415553" cy="5185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8268511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331">
          <p15:clr>
            <a:srgbClr val="FBAE40"/>
          </p15:clr>
        </p15:guide>
        <p15:guide id="2" pos="3861">
          <p15:clr>
            <a:srgbClr val="FBAE40"/>
          </p15:clr>
        </p15:guide>
        <p15:guide id="3" orient="horz" pos="250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="" xmlns:a16="http://schemas.microsoft.com/office/drawing/2014/main" id="{F9C18FE8-0749-2C42-B198-0F4DC5680F4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Subtítulo 2">
            <a:extLst>
              <a:ext uri="{FF2B5EF4-FFF2-40B4-BE49-F238E27FC236}">
                <a16:creationId xmlns="" xmlns:a16="http://schemas.microsoft.com/office/drawing/2014/main" id="{353F16A4-AA9E-234F-B410-8DFF5002533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Haga clic para modificar el estilo de subtítulo del patrón</a:t>
            </a:r>
            <a:endParaRPr lang="es-CL"/>
          </a:p>
        </p:txBody>
      </p:sp>
      <p:sp>
        <p:nvSpPr>
          <p:cNvPr id="4" name="Marcador de fecha 3">
            <a:extLst>
              <a:ext uri="{FF2B5EF4-FFF2-40B4-BE49-F238E27FC236}">
                <a16:creationId xmlns="" xmlns:a16="http://schemas.microsoft.com/office/drawing/2014/main" id="{8387DE06-223E-2244-A571-B284E954A96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ACA158-DF4D-074D-AE31-E9964B8F1811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24-02-202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pie de página 4">
            <a:extLst>
              <a:ext uri="{FF2B5EF4-FFF2-40B4-BE49-F238E27FC236}">
                <a16:creationId xmlns="" xmlns:a16="http://schemas.microsoft.com/office/drawing/2014/main" id="{907C2FDC-5719-904E-A060-B6058680B9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="" xmlns:a16="http://schemas.microsoft.com/office/drawing/2014/main" id="{26D64D61-8CDF-454B-88D3-8B532544DA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6E91D1-4FE0-7F41-A762-E8DCE95C4189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1835714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="" xmlns:a16="http://schemas.microsoft.com/office/drawing/2014/main" id="{D884828A-099E-2347-B19D-1C80ECCE07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contenido 2">
            <a:extLst>
              <a:ext uri="{FF2B5EF4-FFF2-40B4-BE49-F238E27FC236}">
                <a16:creationId xmlns="" xmlns:a16="http://schemas.microsoft.com/office/drawing/2014/main" id="{44F8E1F0-E41D-D545-A40F-6BADA7C03DF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4" name="Marcador de fecha 3">
            <a:extLst>
              <a:ext uri="{FF2B5EF4-FFF2-40B4-BE49-F238E27FC236}">
                <a16:creationId xmlns="" xmlns:a16="http://schemas.microsoft.com/office/drawing/2014/main" id="{DF3CF82D-BAD7-484A-98E4-BE01FD421F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ACA158-DF4D-074D-AE31-E9964B8F1811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24-02-202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pie de página 4">
            <a:extLst>
              <a:ext uri="{FF2B5EF4-FFF2-40B4-BE49-F238E27FC236}">
                <a16:creationId xmlns="" xmlns:a16="http://schemas.microsoft.com/office/drawing/2014/main" id="{EE583DE5-4464-0F40-BA02-E9FAF4A93AB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="" xmlns:a16="http://schemas.microsoft.com/office/drawing/2014/main" id="{D7F6F050-6708-6A42-92DD-7E0D834B63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6E91D1-4FE0-7F41-A762-E8DCE95C4189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5062562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3.xml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vmlDrawing" Target="../drawings/vmlDrawing1.v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.xml"/><Relationship Id="rId3" Type="http://schemas.openxmlformats.org/officeDocument/2006/relationships/slideLayout" Target="../slideLayouts/slideLayout10.xml"/><Relationship Id="rId7" Type="http://schemas.openxmlformats.org/officeDocument/2006/relationships/slideLayout" Target="../slideLayouts/slideLayout14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11" Type="http://schemas.openxmlformats.org/officeDocument/2006/relationships/slideLayout" Target="../slideLayouts/slideLayout18.xml"/><Relationship Id="rId5" Type="http://schemas.openxmlformats.org/officeDocument/2006/relationships/slideLayout" Target="../slideLayouts/slideLayout12.xml"/><Relationship Id="rId10" Type="http://schemas.openxmlformats.org/officeDocument/2006/relationships/slideLayout" Target="../slideLayouts/slideLayout17.xml"/><Relationship Id="rId4" Type="http://schemas.openxmlformats.org/officeDocument/2006/relationships/slideLayout" Target="../slideLayouts/slideLayout11.xml"/><Relationship Id="rId9" Type="http://schemas.openxmlformats.org/officeDocument/2006/relationships/slideLayout" Target="../slideLayouts/slideLayout1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xmlns="" id="{32A4F985-5364-6E40-4A83-23C6EC5482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6317006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24" name="Diapositiva de think-cell" r:id="rId12" imgW="415" imgH="416" progId="TCLayout.ActiveDocument.1">
                  <p:embed/>
                </p:oleObj>
              </mc:Choice>
              <mc:Fallback>
                <p:oleObj name="Diapositiva de think-cell" r:id="rId12" imgW="415" imgH="416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:a16="http://schemas.microsoft.com/office/drawing/2014/main" xmlns="" id="{32A4F985-5364-6E40-4A83-23C6EC5482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Marcador de texto 6">
            <a:extLst>
              <a:ext uri="{FF2B5EF4-FFF2-40B4-BE49-F238E27FC236}">
                <a16:creationId xmlns:a16="http://schemas.microsoft.com/office/drawing/2014/main" xmlns="" id="{8EBDBA09-EDD8-FFE9-5AB1-157BBCC9C43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 dirty="0"/>
              <a:t>Haga clic para modificar los estilos de texto del patrón</a:t>
            </a:r>
          </a:p>
          <a:p>
            <a:pPr lvl="1"/>
            <a:r>
              <a:rPr lang="es-ES" dirty="0"/>
              <a:t>Segundo nivel</a:t>
            </a:r>
          </a:p>
          <a:p>
            <a:pPr lvl="2"/>
            <a:r>
              <a:rPr lang="es-ES" dirty="0"/>
              <a:t>Tercer nivel</a:t>
            </a:r>
          </a:p>
          <a:p>
            <a:pPr lvl="3"/>
            <a:r>
              <a:rPr lang="es-ES" dirty="0"/>
              <a:t>Cuarto nivel</a:t>
            </a:r>
          </a:p>
          <a:p>
            <a:pPr lvl="4"/>
            <a:r>
              <a:rPr lang="es-ES" dirty="0"/>
              <a:t>Quinto nivel</a:t>
            </a:r>
            <a:endParaRPr lang="es-CL" dirty="0"/>
          </a:p>
        </p:txBody>
      </p:sp>
    </p:spTree>
    <p:custDataLst>
      <p:tags r:id="rId10"/>
    </p:custDataLst>
    <p:extLst>
      <p:ext uri="{BB962C8B-B14F-4D97-AF65-F5344CB8AC3E}">
        <p14:creationId xmlns:p14="http://schemas.microsoft.com/office/powerpoint/2010/main" val="1954689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2" r:id="rId1"/>
    <p:sldLayoutId id="2147483697" r:id="rId2"/>
    <p:sldLayoutId id="2147483665" r:id="rId3"/>
    <p:sldLayoutId id="2147483686" r:id="rId4"/>
    <p:sldLayoutId id="2147483698" r:id="rId5"/>
    <p:sldLayoutId id="2147483696" r:id="rId6"/>
    <p:sldLayoutId id="2147483695" r:id="rId7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Wingdings" panose="05000000000000000000" pitchFamily="2" charset="2"/>
        <a:buChar char="§"/>
        <a:defRPr sz="1600" b="0" kern="1200">
          <a:solidFill>
            <a:schemeClr val="accent3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400" b="0" kern="1200">
          <a:solidFill>
            <a:schemeClr val="accent3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۔"/>
        <a:defRPr sz="1400" b="0" kern="1200">
          <a:solidFill>
            <a:schemeClr val="accent3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۔"/>
        <a:defRPr sz="1400" b="0" kern="1200">
          <a:solidFill>
            <a:schemeClr val="accent3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۔"/>
        <a:defRPr sz="1400" b="0" kern="1200">
          <a:solidFill>
            <a:schemeClr val="accent3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C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ítulo 1">
            <a:extLst>
              <a:ext uri="{FF2B5EF4-FFF2-40B4-BE49-F238E27FC236}">
                <a16:creationId xmlns="" xmlns:a16="http://schemas.microsoft.com/office/drawing/2014/main" id="{7EAE2FC3-E8D4-FE4D-98F5-925B84F586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texto 2">
            <a:extLst>
              <a:ext uri="{FF2B5EF4-FFF2-40B4-BE49-F238E27FC236}">
                <a16:creationId xmlns="" xmlns:a16="http://schemas.microsoft.com/office/drawing/2014/main" id="{348AB11D-457D-7D41-8335-147C4E4C246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4" name="Marcador de fecha 3">
            <a:extLst>
              <a:ext uri="{FF2B5EF4-FFF2-40B4-BE49-F238E27FC236}">
                <a16:creationId xmlns="" xmlns:a16="http://schemas.microsoft.com/office/drawing/2014/main" id="{1D5EA07A-1424-0F4F-BD85-682D60C45CA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DACA158-DF4D-074D-AE31-E9964B8F1811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24-02-202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pie de página 4">
            <a:extLst>
              <a:ext uri="{FF2B5EF4-FFF2-40B4-BE49-F238E27FC236}">
                <a16:creationId xmlns="" xmlns:a16="http://schemas.microsoft.com/office/drawing/2014/main" id="{F5D46D7D-5D94-DD44-BA69-DBCCFDB9C75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="" xmlns:a16="http://schemas.microsoft.com/office/drawing/2014/main" id="{1C3A2914-F0B2-F043-8D6A-7832AE91E28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E6E91D1-4FE0-7F41-A762-E8DCE95C4189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083740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701" r:id="rId2"/>
    <p:sldLayoutId id="2147483702" r:id="rId3"/>
    <p:sldLayoutId id="2147483703" r:id="rId4"/>
    <p:sldLayoutId id="2147483704" r:id="rId5"/>
    <p:sldLayoutId id="2147483705" r:id="rId6"/>
    <p:sldLayoutId id="2147483706" r:id="rId7"/>
    <p:sldLayoutId id="2147483707" r:id="rId8"/>
    <p:sldLayoutId id="2147483708" r:id="rId9"/>
    <p:sldLayoutId id="2147483709" r:id="rId10"/>
    <p:sldLayoutId id="2147483710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C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1.xml"/><Relationship Id="rId7" Type="http://schemas.openxmlformats.org/officeDocument/2006/relationships/oleObject" Target="../embeddings/oleObject6.bin"/><Relationship Id="rId2" Type="http://schemas.openxmlformats.org/officeDocument/2006/relationships/tags" Target="../tags/tag10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9.jpg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emf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0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wmf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1.xml"/><Relationship Id="rId4" Type="http://schemas.openxmlformats.org/officeDocument/2006/relationships/image" Target="../media/image24.e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2.xml"/><Relationship Id="rId4" Type="http://schemas.openxmlformats.org/officeDocument/2006/relationships/image" Target="../media/image16.em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3.xml"/><Relationship Id="rId4" Type="http://schemas.openxmlformats.org/officeDocument/2006/relationships/image" Target="../media/image21.em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4.xml"/><Relationship Id="rId4" Type="http://schemas.openxmlformats.org/officeDocument/2006/relationships/image" Target="../media/image17.em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5.xml"/><Relationship Id="rId4" Type="http://schemas.openxmlformats.org/officeDocument/2006/relationships/image" Target="../media/image25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emf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6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emf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7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e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8.xml"/><Relationship Id="rId4" Type="http://schemas.openxmlformats.org/officeDocument/2006/relationships/image" Target="../media/image28.jpe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emf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9.xml"/><Relationship Id="rId4" Type="http://schemas.openxmlformats.org/officeDocument/2006/relationships/image" Target="../media/image29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7" Type="http://schemas.openxmlformats.org/officeDocument/2006/relationships/image" Target="../media/image13.emf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2.xml"/><Relationship Id="rId6" Type="http://schemas.openxmlformats.org/officeDocument/2006/relationships/image" Target="../media/image12.emf"/><Relationship Id="rId5" Type="http://schemas.openxmlformats.org/officeDocument/2006/relationships/image" Target="../media/image11.emf"/><Relationship Id="rId4" Type="http://schemas.openxmlformats.org/officeDocument/2006/relationships/image" Target="../media/image10.emf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30.xml"/><Relationship Id="rId4" Type="http://schemas.openxmlformats.org/officeDocument/2006/relationships/image" Target="../media/image30.jp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31.xml"/><Relationship Id="rId4" Type="http://schemas.openxmlformats.org/officeDocument/2006/relationships/image" Target="../media/image31.jpe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32.xml"/><Relationship Id="rId4" Type="http://schemas.openxmlformats.org/officeDocument/2006/relationships/image" Target="../media/image32.jp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33.xml"/><Relationship Id="rId4" Type="http://schemas.openxmlformats.org/officeDocument/2006/relationships/image" Target="../media/image33.jp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34.xml"/><Relationship Id="rId4" Type="http://schemas.openxmlformats.org/officeDocument/2006/relationships/image" Target="../media/image34.jpe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35.xml"/><Relationship Id="rId4" Type="http://schemas.openxmlformats.org/officeDocument/2006/relationships/image" Target="../media/image35.jp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36.xml"/><Relationship Id="rId4" Type="http://schemas.openxmlformats.org/officeDocument/2006/relationships/image" Target="../media/image36.emf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37.xml"/><Relationship Id="rId4" Type="http://schemas.openxmlformats.org/officeDocument/2006/relationships/image" Target="../media/image37.jp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0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38.xml"/><Relationship Id="rId4" Type="http://schemas.openxmlformats.org/officeDocument/2006/relationships/image" Target="../media/image38.jpe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1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39.xml"/><Relationship Id="rId4" Type="http://schemas.openxmlformats.org/officeDocument/2006/relationships/image" Target="../media/image39.jp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3.xml"/><Relationship Id="rId4" Type="http://schemas.openxmlformats.org/officeDocument/2006/relationships/image" Target="../media/image14.emf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2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40.xml"/><Relationship Id="rId4" Type="http://schemas.openxmlformats.org/officeDocument/2006/relationships/image" Target="../media/image40.jpe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3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41.xml"/><Relationship Id="rId4" Type="http://schemas.openxmlformats.org/officeDocument/2006/relationships/image" Target="../media/image41.jpe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4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42.xml"/><Relationship Id="rId4" Type="http://schemas.openxmlformats.org/officeDocument/2006/relationships/image" Target="../media/image42.jpe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5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43.xml"/><Relationship Id="rId4" Type="http://schemas.openxmlformats.org/officeDocument/2006/relationships/image" Target="../media/image43.pn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6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44.xml"/><Relationship Id="rId4" Type="http://schemas.openxmlformats.org/officeDocument/2006/relationships/image" Target="../media/image44.jp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7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45.xml"/><Relationship Id="rId4" Type="http://schemas.openxmlformats.org/officeDocument/2006/relationships/image" Target="../media/image44.jp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8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46.xml"/><Relationship Id="rId4" Type="http://schemas.openxmlformats.org/officeDocument/2006/relationships/image" Target="../media/image45.jp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9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47.xml"/><Relationship Id="rId4" Type="http://schemas.openxmlformats.org/officeDocument/2006/relationships/image" Target="../media/image45.jp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0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48.xml"/><Relationship Id="rId4" Type="http://schemas.openxmlformats.org/officeDocument/2006/relationships/image" Target="../media/image46.jpe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49.xml"/><Relationship Id="rId6" Type="http://schemas.openxmlformats.org/officeDocument/2006/relationships/image" Target="../media/image49.png"/><Relationship Id="rId5" Type="http://schemas.openxmlformats.org/officeDocument/2006/relationships/image" Target="NULL"/><Relationship Id="rId4" Type="http://schemas.openxmlformats.org/officeDocument/2006/relationships/image" Target="../media/image48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4.xml"/><Relationship Id="rId4" Type="http://schemas.openxmlformats.org/officeDocument/2006/relationships/image" Target="../media/image15.emf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50.xml"/><Relationship Id="rId6" Type="http://schemas.openxmlformats.org/officeDocument/2006/relationships/image" Target="../media/image50.png"/><Relationship Id="rId5" Type="http://schemas.openxmlformats.org/officeDocument/2006/relationships/image" Target="NULL"/><Relationship Id="rId4" Type="http://schemas.openxmlformats.org/officeDocument/2006/relationships/image" Target="../media/image48.png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tags" Target="../tags/tag52.xml"/><Relationship Id="rId2" Type="http://schemas.openxmlformats.org/officeDocument/2006/relationships/tags" Target="../tags/tag51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51.emf"/><Relationship Id="rId5" Type="http://schemas.openxmlformats.org/officeDocument/2006/relationships/oleObject" Target="../embeddings/oleObject7.bin"/><Relationship Id="rId4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emf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emf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7.xml"/><Relationship Id="rId4" Type="http://schemas.openxmlformats.org/officeDocument/2006/relationships/image" Target="../media/image18.jp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8.xml"/><Relationship Id="rId5" Type="http://schemas.openxmlformats.org/officeDocument/2006/relationships/image" Target="../media/image20.emf"/><Relationship Id="rId4" Type="http://schemas.openxmlformats.org/officeDocument/2006/relationships/image" Target="../media/image19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9.xml"/><Relationship Id="rId4" Type="http://schemas.openxmlformats.org/officeDocument/2006/relationships/image" Target="../media/image2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n 2">
            <a:extLst>
              <a:ext uri="{FF2B5EF4-FFF2-40B4-BE49-F238E27FC236}">
                <a16:creationId xmlns:a16="http://schemas.microsoft.com/office/drawing/2014/main" xmlns="" id="{D8E306AE-06AD-7744-B846-775D01F25BC0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76" t="16070" r="3603" b="21794"/>
          <a:stretch/>
        </p:blipFill>
        <p:spPr>
          <a:xfrm>
            <a:off x="0" y="0"/>
            <a:ext cx="10564596" cy="6858000"/>
          </a:xfrm>
          <a:prstGeom prst="rect">
            <a:avLst/>
          </a:prstGeom>
        </p:spPr>
      </p:pic>
      <p:sp>
        <p:nvSpPr>
          <p:cNvPr id="4" name="Marcador de texto 3">
            <a:extLst>
              <a:ext uri="{FF2B5EF4-FFF2-40B4-BE49-F238E27FC236}">
                <a16:creationId xmlns:a16="http://schemas.microsoft.com/office/drawing/2014/main" xmlns="" id="{DD37DDFC-9B35-4472-AAC0-7C735ED8999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7" name="Marcador de texto 6">
            <a:extLst>
              <a:ext uri="{FF2B5EF4-FFF2-40B4-BE49-F238E27FC236}">
                <a16:creationId xmlns:a16="http://schemas.microsoft.com/office/drawing/2014/main" xmlns="" id="{A188B5C8-1ADD-4220-AF66-167980153F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77441" y="4526229"/>
            <a:ext cx="4989786" cy="1143412"/>
          </a:xfrm>
        </p:spPr>
        <p:txBody>
          <a:bodyPr/>
          <a:lstStyle/>
          <a:p>
            <a:r>
              <a:rPr lang="es-CL" dirty="0" smtClean="0">
                <a:latin typeface="ACHS Nueva Serif" pitchFamily="2" charset="77"/>
              </a:rPr>
              <a:t>Hantavirus</a:t>
            </a:r>
            <a:endParaRPr lang="es-CL" dirty="0">
              <a:latin typeface="ACHS Nueva Serif" pitchFamily="2" charset="77"/>
            </a:endParaRPr>
          </a:p>
        </p:txBody>
      </p:sp>
      <p:graphicFrame>
        <p:nvGraphicFramePr>
          <p:cNvPr id="6" name="Objeto 5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025" name="Diapositiva de think-cell" r:id="rId7" imgW="415" imgH="416" progId="TCLayout.ActiveDocument.1">
                  <p:embed/>
                </p:oleObj>
              </mc:Choice>
              <mc:Fallback>
                <p:oleObj name="Diapositiva de think-cell" r:id="rId7" imgW="415" imgH="416" progId="TCLayout.ActiveDocument.1">
                  <p:embed/>
                  <p:pic>
                    <p:nvPicPr>
                      <p:cNvPr id="6" name="Objeto 5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ángulo redondeado 7">
            <a:extLst>
              <a:ext uri="{FF2B5EF4-FFF2-40B4-BE49-F238E27FC236}">
                <a16:creationId xmlns:a16="http://schemas.microsoft.com/office/drawing/2014/main" xmlns="" id="{28F435F5-148C-8C40-8E6B-731307752838}"/>
              </a:ext>
            </a:extLst>
          </p:cNvPr>
          <p:cNvSpPr/>
          <p:nvPr/>
        </p:nvSpPr>
        <p:spPr>
          <a:xfrm>
            <a:off x="194313" y="4032617"/>
            <a:ext cx="2372242" cy="448666"/>
          </a:xfrm>
          <a:prstGeom prst="roundRect">
            <a:avLst>
              <a:gd name="adj" fmla="val 26667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L" dirty="0">
                <a:solidFill>
                  <a:schemeClr val="bg2"/>
                </a:solidFill>
                <a:latin typeface="ACHS Nueva Sans Medium" pitchFamily="2" charset="77"/>
              </a:rPr>
              <a:t>Charla </a:t>
            </a:r>
            <a:r>
              <a:rPr lang="es-CL">
                <a:solidFill>
                  <a:schemeClr val="bg2"/>
                </a:solidFill>
                <a:latin typeface="ACHS Nueva Sans Medium" pitchFamily="2" charset="77"/>
              </a:rPr>
              <a:t>/ </a:t>
            </a:r>
            <a:r>
              <a:rPr lang="es-CL" smtClean="0">
                <a:solidFill>
                  <a:schemeClr val="bg2"/>
                </a:solidFill>
                <a:latin typeface="ACHS Nueva Sans Medium" pitchFamily="2" charset="77"/>
              </a:rPr>
              <a:t>Presencial</a:t>
            </a:r>
            <a:endParaRPr lang="es-CL" dirty="0">
              <a:solidFill>
                <a:schemeClr val="bg2"/>
              </a:solidFill>
              <a:latin typeface="ACHS Nueva Sans Medium" pitchFamily="2" charset="77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8706000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Marcador de texto 4">
            <a:extLst>
              <a:ext uri="{FF2B5EF4-FFF2-40B4-BE49-F238E27FC236}">
                <a16:creationId xmlns:a16="http://schemas.microsoft.com/office/drawing/2014/main" xmlns="" id="{1CACD16F-3652-7549-BC2D-26C3F26B4713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/>
        <p:txBody>
          <a:bodyPr>
            <a:normAutofit/>
          </a:bodyPr>
          <a:lstStyle/>
          <a:p>
            <a:r>
              <a:rPr lang="es-CL" dirty="0">
                <a:latin typeface="ACHS Nueva Serif" pitchFamily="2" charset="77"/>
              </a:rPr>
              <a:t>Origen del virus Hanta</a:t>
            </a:r>
          </a:p>
        </p:txBody>
      </p:sp>
      <p:sp>
        <p:nvSpPr>
          <p:cNvPr id="6" name="Marcador de texto 5">
            <a:extLst>
              <a:ext uri="{FF2B5EF4-FFF2-40B4-BE49-F238E27FC236}">
                <a16:creationId xmlns:a16="http://schemas.microsoft.com/office/drawing/2014/main" xmlns="" id="{428234B7-C6B4-9F41-8A16-FE6C356217C0}"/>
              </a:ext>
            </a:extLst>
          </p:cNvPr>
          <p:cNvSpPr>
            <a:spLocks noGrp="1"/>
          </p:cNvSpPr>
          <p:nvPr>
            <p:ph type="body" sz="quarter" idx="62"/>
          </p:nvPr>
        </p:nvSpPr>
        <p:spPr/>
        <p:txBody>
          <a:bodyPr/>
          <a:lstStyle/>
          <a:p>
            <a:r>
              <a:rPr lang="es-CL" dirty="0">
                <a:latin typeface="ACHS Nueva Sans Medium" pitchFamily="2" charset="77"/>
              </a:rPr>
              <a:t>Hantavirus en Chile: </a:t>
            </a:r>
          </a:p>
        </p:txBody>
      </p:sp>
      <p:sp>
        <p:nvSpPr>
          <p:cNvPr id="15" name="Marcador de texto 5">
            <a:extLst>
              <a:ext uri="{FF2B5EF4-FFF2-40B4-BE49-F238E27FC236}">
                <a16:creationId xmlns:a16="http://schemas.microsoft.com/office/drawing/2014/main" xmlns="" id="{63E0A03E-7397-064E-BCCE-D92AC4069E98}"/>
              </a:ext>
            </a:extLst>
          </p:cNvPr>
          <p:cNvSpPr txBox="1">
            <a:spLocks/>
          </p:cNvSpPr>
          <p:nvPr/>
        </p:nvSpPr>
        <p:spPr>
          <a:xfrm>
            <a:off x="449261" y="1539081"/>
            <a:ext cx="4154269" cy="4569619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1600" b="0" i="0" u="none" strike="noStrike" cap="none" spc="0" baseline="0">
                <a:solidFill>
                  <a:schemeClr val="accent1"/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1pPr>
            <a:lvl2pPr marL="3048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6096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9144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2192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lvl="0">
              <a:lnSpc>
                <a:spcPct val="100000"/>
              </a:lnSpc>
              <a:buClr>
                <a:schemeClr val="accent1"/>
              </a:buClr>
            </a:pPr>
            <a:r>
              <a:rPr lang="es-CL" sz="1600" dirty="0">
                <a:solidFill>
                  <a:schemeClr val="tx1"/>
                </a:solidFill>
                <a:latin typeface="ACHS Nueva Sans Medium" pitchFamily="2" charset="77"/>
              </a:rPr>
              <a:t>Octubre 1997: V.E. y control de la enfermedad</a:t>
            </a:r>
          </a:p>
          <a:p>
            <a:pPr lvl="0">
              <a:lnSpc>
                <a:spcPct val="100000"/>
              </a:lnSpc>
              <a:buClr>
                <a:schemeClr val="accent1"/>
              </a:buClr>
            </a:pPr>
            <a:r>
              <a:rPr lang="es-CL" sz="1600" dirty="0">
                <a:solidFill>
                  <a:schemeClr val="tx1"/>
                </a:solidFill>
                <a:latin typeface="ACHS Nueva Sans Medium" pitchFamily="2" charset="77"/>
              </a:rPr>
              <a:t>Febrero 1998: criterios nacionales:</a:t>
            </a:r>
          </a:p>
          <a:p>
            <a:pPr marL="285750" lvl="0" indent="-285750">
              <a:lnSpc>
                <a:spcPct val="100000"/>
              </a:lnSpc>
              <a:buClr>
                <a:schemeClr val="accent1"/>
              </a:buClr>
              <a:buFont typeface="Wingdings" pitchFamily="2" charset="2"/>
              <a:buChar char="§"/>
            </a:pPr>
            <a:r>
              <a:rPr lang="es-CL" sz="1600" dirty="0">
                <a:solidFill>
                  <a:schemeClr val="tx1"/>
                </a:solidFill>
                <a:latin typeface="ACHS Nueva Sans Medium" pitchFamily="2" charset="77"/>
              </a:rPr>
              <a:t>Notificación inmediata, según Decreto N° 712: Notificación de enfermedades transmisibles de declaración obligatoria.</a:t>
            </a:r>
          </a:p>
          <a:p>
            <a:pPr marL="285750" lvl="0" indent="-285750">
              <a:lnSpc>
                <a:spcPct val="100000"/>
              </a:lnSpc>
              <a:buClr>
                <a:schemeClr val="accent1"/>
              </a:buClr>
              <a:buFont typeface="Wingdings" pitchFamily="2" charset="2"/>
              <a:buChar char="§"/>
            </a:pPr>
            <a:r>
              <a:rPr lang="es-CL" sz="1600" dirty="0">
                <a:solidFill>
                  <a:schemeClr val="tx1"/>
                </a:solidFill>
                <a:latin typeface="ACHS Nueva Sans Medium" pitchFamily="2" charset="77"/>
              </a:rPr>
              <a:t>Investigación epidemiológica.</a:t>
            </a:r>
          </a:p>
          <a:p>
            <a:pPr marL="285750" lvl="0" indent="-285750">
              <a:lnSpc>
                <a:spcPct val="100000"/>
              </a:lnSpc>
              <a:buClr>
                <a:schemeClr val="accent1"/>
              </a:buClr>
              <a:buFont typeface="Wingdings" pitchFamily="2" charset="2"/>
              <a:buChar char="§"/>
            </a:pPr>
            <a:r>
              <a:rPr lang="es-CL" sz="1600" dirty="0">
                <a:solidFill>
                  <a:schemeClr val="tx1"/>
                </a:solidFill>
                <a:latin typeface="ACHS Nueva Sans Medium" pitchFamily="2" charset="77"/>
              </a:rPr>
              <a:t>Contactos.</a:t>
            </a:r>
          </a:p>
          <a:p>
            <a:pPr marL="285750" lvl="0" indent="-285750">
              <a:lnSpc>
                <a:spcPct val="100000"/>
              </a:lnSpc>
              <a:buClr>
                <a:schemeClr val="accent1"/>
              </a:buClr>
              <a:buFont typeface="Wingdings" pitchFamily="2" charset="2"/>
              <a:buChar char="§"/>
            </a:pPr>
            <a:r>
              <a:rPr lang="es-CL" sz="1600" dirty="0">
                <a:solidFill>
                  <a:schemeClr val="tx1"/>
                </a:solidFill>
                <a:latin typeface="ACHS Nueva Sans Medium" pitchFamily="2" charset="77"/>
              </a:rPr>
              <a:t>Registro de casos.</a:t>
            </a:r>
          </a:p>
          <a:p>
            <a:pPr marL="285750" lvl="0" indent="-285750">
              <a:lnSpc>
                <a:spcPct val="100000"/>
              </a:lnSpc>
              <a:buClr>
                <a:schemeClr val="accent1"/>
              </a:buClr>
              <a:buFont typeface="Wingdings" pitchFamily="2" charset="2"/>
              <a:buChar char="§"/>
            </a:pPr>
            <a:r>
              <a:rPr lang="es-CL" sz="1600" dirty="0">
                <a:solidFill>
                  <a:schemeClr val="tx1"/>
                </a:solidFill>
                <a:latin typeface="ACHS Nueva Sans Medium" pitchFamily="2" charset="77"/>
              </a:rPr>
              <a:t>Información de los casos confirmado.</a:t>
            </a:r>
          </a:p>
          <a:p>
            <a:pPr lvl="0">
              <a:lnSpc>
                <a:spcPct val="100000"/>
              </a:lnSpc>
              <a:buClr>
                <a:schemeClr val="accent1"/>
              </a:buClr>
            </a:pPr>
            <a:endParaRPr lang="es-CL" sz="1600" dirty="0">
              <a:solidFill>
                <a:schemeClr val="tx1"/>
              </a:solidFill>
              <a:latin typeface="ACHS Nueva Sans Medium" pitchFamily="2" charset="77"/>
            </a:endParaRPr>
          </a:p>
        </p:txBody>
      </p:sp>
      <p:pic>
        <p:nvPicPr>
          <p:cNvPr id="7" name="Picture 42">
            <a:extLst>
              <a:ext uri="{FF2B5EF4-FFF2-40B4-BE49-F238E27FC236}">
                <a16:creationId xmlns:a16="http://schemas.microsoft.com/office/drawing/2014/main" xmlns="" id="{9B30118A-2B2D-B44B-96F8-968FA1C5F23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501643" y="2484728"/>
            <a:ext cx="3618307" cy="5105282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6116131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Marcador de texto 4">
            <a:extLst>
              <a:ext uri="{FF2B5EF4-FFF2-40B4-BE49-F238E27FC236}">
                <a16:creationId xmlns:a16="http://schemas.microsoft.com/office/drawing/2014/main" xmlns="" id="{1CACD16F-3652-7549-BC2D-26C3F26B4713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/>
        <p:txBody>
          <a:bodyPr>
            <a:normAutofit/>
          </a:bodyPr>
          <a:lstStyle/>
          <a:p>
            <a:r>
              <a:rPr lang="es-CL" dirty="0">
                <a:latin typeface="ACHS Nueva Serif" pitchFamily="2" charset="77"/>
              </a:rPr>
              <a:t>Transmisión del virus</a:t>
            </a:r>
          </a:p>
        </p:txBody>
      </p:sp>
      <p:sp>
        <p:nvSpPr>
          <p:cNvPr id="6" name="Marcador de texto 5">
            <a:extLst>
              <a:ext uri="{FF2B5EF4-FFF2-40B4-BE49-F238E27FC236}">
                <a16:creationId xmlns:a16="http://schemas.microsoft.com/office/drawing/2014/main" xmlns="" id="{428234B7-C6B4-9F41-8A16-FE6C356217C0}"/>
              </a:ext>
            </a:extLst>
          </p:cNvPr>
          <p:cNvSpPr>
            <a:spLocks noGrp="1"/>
          </p:cNvSpPr>
          <p:nvPr>
            <p:ph type="body" sz="quarter" idx="62"/>
          </p:nvPr>
        </p:nvSpPr>
        <p:spPr/>
        <p:txBody>
          <a:bodyPr/>
          <a:lstStyle/>
          <a:p>
            <a:r>
              <a:rPr lang="es-CL" dirty="0">
                <a:latin typeface="ACHS Nueva Sans Medium" pitchFamily="2" charset="77"/>
              </a:rPr>
              <a:t>Hantavirus en Chile: </a:t>
            </a:r>
          </a:p>
        </p:txBody>
      </p:sp>
      <p:sp>
        <p:nvSpPr>
          <p:cNvPr id="11" name="Freeform 1028">
            <a:extLst>
              <a:ext uri="{FF2B5EF4-FFF2-40B4-BE49-F238E27FC236}">
                <a16:creationId xmlns:a16="http://schemas.microsoft.com/office/drawing/2014/main" xmlns="" id="{825BF1BB-870E-E541-AB70-4F3038C9D2A9}"/>
              </a:ext>
            </a:extLst>
          </p:cNvPr>
          <p:cNvSpPr>
            <a:spLocks/>
          </p:cNvSpPr>
          <p:nvPr/>
        </p:nvSpPr>
        <p:spPr bwMode="auto">
          <a:xfrm>
            <a:off x="3308897" y="1661696"/>
            <a:ext cx="1684952" cy="2283874"/>
          </a:xfrm>
          <a:custGeom>
            <a:avLst/>
            <a:gdLst/>
            <a:ahLst/>
            <a:cxnLst>
              <a:cxn ang="0">
                <a:pos x="1444" y="1849"/>
              </a:cxn>
              <a:cxn ang="0">
                <a:pos x="1186" y="1820"/>
              </a:cxn>
              <a:cxn ang="0">
                <a:pos x="952" y="1775"/>
              </a:cxn>
              <a:cxn ang="0">
                <a:pos x="742" y="1715"/>
              </a:cxn>
              <a:cxn ang="0">
                <a:pos x="556" y="1640"/>
              </a:cxn>
              <a:cxn ang="0">
                <a:pos x="397" y="1552"/>
              </a:cxn>
              <a:cxn ang="0">
                <a:pos x="264" y="1453"/>
              </a:cxn>
              <a:cxn ang="0">
                <a:pos x="156" y="1344"/>
              </a:cxn>
              <a:cxn ang="0">
                <a:pos x="77" y="1226"/>
              </a:cxn>
              <a:cxn ang="0">
                <a:pos x="24" y="1100"/>
              </a:cxn>
              <a:cxn ang="0">
                <a:pos x="1" y="967"/>
              </a:cxn>
              <a:cxn ang="0">
                <a:pos x="5" y="848"/>
              </a:cxn>
              <a:cxn ang="0">
                <a:pos x="36" y="741"/>
              </a:cxn>
              <a:cxn ang="0">
                <a:pos x="90" y="640"/>
              </a:cxn>
              <a:cxn ang="0">
                <a:pos x="166" y="544"/>
              </a:cxn>
              <a:cxn ang="0">
                <a:pos x="265" y="454"/>
              </a:cxn>
              <a:cxn ang="0">
                <a:pos x="384" y="371"/>
              </a:cxn>
              <a:cxn ang="0">
                <a:pos x="522" y="295"/>
              </a:cxn>
              <a:cxn ang="0">
                <a:pos x="675" y="226"/>
              </a:cxn>
              <a:cxn ang="0">
                <a:pos x="844" y="165"/>
              </a:cxn>
              <a:cxn ang="0">
                <a:pos x="1028" y="113"/>
              </a:cxn>
              <a:cxn ang="0">
                <a:pos x="1225" y="70"/>
              </a:cxn>
              <a:cxn ang="0">
                <a:pos x="1236" y="245"/>
              </a:cxn>
              <a:cxn ang="0">
                <a:pos x="1136" y="186"/>
              </a:cxn>
              <a:cxn ang="0">
                <a:pos x="976" y="231"/>
              </a:cxn>
              <a:cxn ang="0">
                <a:pos x="829" y="283"/>
              </a:cxn>
              <a:cxn ang="0">
                <a:pos x="694" y="343"/>
              </a:cxn>
              <a:cxn ang="0">
                <a:pos x="574" y="409"/>
              </a:cxn>
              <a:cxn ang="0">
                <a:pos x="470" y="482"/>
              </a:cxn>
              <a:cxn ang="0">
                <a:pos x="382" y="560"/>
              </a:cxn>
              <a:cxn ang="0">
                <a:pos x="311" y="643"/>
              </a:cxn>
              <a:cxn ang="0">
                <a:pos x="261" y="732"/>
              </a:cxn>
              <a:cxn ang="0">
                <a:pos x="229" y="824"/>
              </a:cxn>
              <a:cxn ang="0">
                <a:pos x="218" y="920"/>
              </a:cxn>
              <a:cxn ang="0">
                <a:pos x="231" y="1038"/>
              </a:cxn>
              <a:cxn ang="0">
                <a:pos x="271" y="1150"/>
              </a:cxn>
              <a:cxn ang="0">
                <a:pos x="336" y="1254"/>
              </a:cxn>
              <a:cxn ang="0">
                <a:pos x="424" y="1350"/>
              </a:cxn>
              <a:cxn ang="0">
                <a:pos x="534" y="1436"/>
              </a:cxn>
              <a:cxn ang="0">
                <a:pos x="666" y="1513"/>
              </a:cxn>
              <a:cxn ang="0">
                <a:pos x="819" y="1579"/>
              </a:cxn>
              <a:cxn ang="0">
                <a:pos x="992" y="1633"/>
              </a:cxn>
              <a:cxn ang="0">
                <a:pos x="1181" y="1675"/>
              </a:cxn>
              <a:cxn ang="0">
                <a:pos x="1389" y="1704"/>
              </a:cxn>
            </a:cxnLst>
            <a:rect l="0" t="0" r="r" b="b"/>
            <a:pathLst>
              <a:path w="1566" h="1855">
                <a:moveTo>
                  <a:pt x="1535" y="1715"/>
                </a:moveTo>
                <a:lnTo>
                  <a:pt x="1535" y="1854"/>
                </a:lnTo>
                <a:lnTo>
                  <a:pt x="1444" y="1849"/>
                </a:lnTo>
                <a:lnTo>
                  <a:pt x="1356" y="1841"/>
                </a:lnTo>
                <a:lnTo>
                  <a:pt x="1270" y="1831"/>
                </a:lnTo>
                <a:lnTo>
                  <a:pt x="1186" y="1820"/>
                </a:lnTo>
                <a:lnTo>
                  <a:pt x="1105" y="1807"/>
                </a:lnTo>
                <a:lnTo>
                  <a:pt x="1028" y="1792"/>
                </a:lnTo>
                <a:lnTo>
                  <a:pt x="952" y="1775"/>
                </a:lnTo>
                <a:lnTo>
                  <a:pt x="879" y="1756"/>
                </a:lnTo>
                <a:lnTo>
                  <a:pt x="810" y="1736"/>
                </a:lnTo>
                <a:lnTo>
                  <a:pt x="742" y="1715"/>
                </a:lnTo>
                <a:lnTo>
                  <a:pt x="678" y="1691"/>
                </a:lnTo>
                <a:lnTo>
                  <a:pt x="616" y="1666"/>
                </a:lnTo>
                <a:lnTo>
                  <a:pt x="556" y="1640"/>
                </a:lnTo>
                <a:lnTo>
                  <a:pt x="500" y="1612"/>
                </a:lnTo>
                <a:lnTo>
                  <a:pt x="447" y="1583"/>
                </a:lnTo>
                <a:lnTo>
                  <a:pt x="397" y="1552"/>
                </a:lnTo>
                <a:lnTo>
                  <a:pt x="349" y="1521"/>
                </a:lnTo>
                <a:lnTo>
                  <a:pt x="306" y="1488"/>
                </a:lnTo>
                <a:lnTo>
                  <a:pt x="264" y="1453"/>
                </a:lnTo>
                <a:lnTo>
                  <a:pt x="226" y="1418"/>
                </a:lnTo>
                <a:lnTo>
                  <a:pt x="189" y="1382"/>
                </a:lnTo>
                <a:lnTo>
                  <a:pt x="156" y="1344"/>
                </a:lnTo>
                <a:lnTo>
                  <a:pt x="127" y="1306"/>
                </a:lnTo>
                <a:lnTo>
                  <a:pt x="101" y="1266"/>
                </a:lnTo>
                <a:lnTo>
                  <a:pt x="77" y="1226"/>
                </a:lnTo>
                <a:lnTo>
                  <a:pt x="57" y="1185"/>
                </a:lnTo>
                <a:lnTo>
                  <a:pt x="39" y="1142"/>
                </a:lnTo>
                <a:lnTo>
                  <a:pt x="24" y="1100"/>
                </a:lnTo>
                <a:lnTo>
                  <a:pt x="14" y="1056"/>
                </a:lnTo>
                <a:lnTo>
                  <a:pt x="5" y="1012"/>
                </a:lnTo>
                <a:lnTo>
                  <a:pt x="1" y="967"/>
                </a:lnTo>
                <a:lnTo>
                  <a:pt x="0" y="922"/>
                </a:lnTo>
                <a:lnTo>
                  <a:pt x="1" y="885"/>
                </a:lnTo>
                <a:lnTo>
                  <a:pt x="5" y="848"/>
                </a:lnTo>
                <a:lnTo>
                  <a:pt x="12" y="812"/>
                </a:lnTo>
                <a:lnTo>
                  <a:pt x="22" y="776"/>
                </a:lnTo>
                <a:lnTo>
                  <a:pt x="36" y="741"/>
                </a:lnTo>
                <a:lnTo>
                  <a:pt x="50" y="707"/>
                </a:lnTo>
                <a:lnTo>
                  <a:pt x="69" y="673"/>
                </a:lnTo>
                <a:lnTo>
                  <a:pt x="90" y="640"/>
                </a:lnTo>
                <a:lnTo>
                  <a:pt x="113" y="607"/>
                </a:lnTo>
                <a:lnTo>
                  <a:pt x="138" y="575"/>
                </a:lnTo>
                <a:lnTo>
                  <a:pt x="166" y="544"/>
                </a:lnTo>
                <a:lnTo>
                  <a:pt x="198" y="513"/>
                </a:lnTo>
                <a:lnTo>
                  <a:pt x="230" y="483"/>
                </a:lnTo>
                <a:lnTo>
                  <a:pt x="265" y="454"/>
                </a:lnTo>
                <a:lnTo>
                  <a:pt x="303" y="426"/>
                </a:lnTo>
                <a:lnTo>
                  <a:pt x="342" y="398"/>
                </a:lnTo>
                <a:lnTo>
                  <a:pt x="384" y="371"/>
                </a:lnTo>
                <a:lnTo>
                  <a:pt x="427" y="345"/>
                </a:lnTo>
                <a:lnTo>
                  <a:pt x="473" y="319"/>
                </a:lnTo>
                <a:lnTo>
                  <a:pt x="522" y="295"/>
                </a:lnTo>
                <a:lnTo>
                  <a:pt x="570" y="271"/>
                </a:lnTo>
                <a:lnTo>
                  <a:pt x="622" y="248"/>
                </a:lnTo>
                <a:lnTo>
                  <a:pt x="675" y="226"/>
                </a:lnTo>
                <a:lnTo>
                  <a:pt x="730" y="205"/>
                </a:lnTo>
                <a:lnTo>
                  <a:pt x="786" y="185"/>
                </a:lnTo>
                <a:lnTo>
                  <a:pt x="844" y="165"/>
                </a:lnTo>
                <a:lnTo>
                  <a:pt x="904" y="147"/>
                </a:lnTo>
                <a:lnTo>
                  <a:pt x="965" y="130"/>
                </a:lnTo>
                <a:lnTo>
                  <a:pt x="1028" y="113"/>
                </a:lnTo>
                <a:lnTo>
                  <a:pt x="1092" y="98"/>
                </a:lnTo>
                <a:lnTo>
                  <a:pt x="1158" y="83"/>
                </a:lnTo>
                <a:lnTo>
                  <a:pt x="1225" y="70"/>
                </a:lnTo>
                <a:lnTo>
                  <a:pt x="1165" y="0"/>
                </a:lnTo>
                <a:lnTo>
                  <a:pt x="1565" y="68"/>
                </a:lnTo>
                <a:lnTo>
                  <a:pt x="1236" y="245"/>
                </a:lnTo>
                <a:lnTo>
                  <a:pt x="1251" y="160"/>
                </a:lnTo>
                <a:lnTo>
                  <a:pt x="1193" y="173"/>
                </a:lnTo>
                <a:lnTo>
                  <a:pt x="1136" y="186"/>
                </a:lnTo>
                <a:lnTo>
                  <a:pt x="1082" y="200"/>
                </a:lnTo>
                <a:lnTo>
                  <a:pt x="1028" y="215"/>
                </a:lnTo>
                <a:lnTo>
                  <a:pt x="976" y="231"/>
                </a:lnTo>
                <a:lnTo>
                  <a:pt x="925" y="248"/>
                </a:lnTo>
                <a:lnTo>
                  <a:pt x="876" y="265"/>
                </a:lnTo>
                <a:lnTo>
                  <a:pt x="829" y="283"/>
                </a:lnTo>
                <a:lnTo>
                  <a:pt x="781" y="302"/>
                </a:lnTo>
                <a:lnTo>
                  <a:pt x="738" y="323"/>
                </a:lnTo>
                <a:lnTo>
                  <a:pt x="694" y="343"/>
                </a:lnTo>
                <a:lnTo>
                  <a:pt x="652" y="364"/>
                </a:lnTo>
                <a:lnTo>
                  <a:pt x="612" y="387"/>
                </a:lnTo>
                <a:lnTo>
                  <a:pt x="574" y="409"/>
                </a:lnTo>
                <a:lnTo>
                  <a:pt x="537" y="433"/>
                </a:lnTo>
                <a:lnTo>
                  <a:pt x="502" y="457"/>
                </a:lnTo>
                <a:lnTo>
                  <a:pt x="470" y="482"/>
                </a:lnTo>
                <a:lnTo>
                  <a:pt x="438" y="507"/>
                </a:lnTo>
                <a:lnTo>
                  <a:pt x="409" y="533"/>
                </a:lnTo>
                <a:lnTo>
                  <a:pt x="382" y="560"/>
                </a:lnTo>
                <a:lnTo>
                  <a:pt x="356" y="588"/>
                </a:lnTo>
                <a:lnTo>
                  <a:pt x="333" y="615"/>
                </a:lnTo>
                <a:lnTo>
                  <a:pt x="311" y="643"/>
                </a:lnTo>
                <a:lnTo>
                  <a:pt x="293" y="672"/>
                </a:lnTo>
                <a:lnTo>
                  <a:pt x="275" y="702"/>
                </a:lnTo>
                <a:lnTo>
                  <a:pt x="261" y="732"/>
                </a:lnTo>
                <a:lnTo>
                  <a:pt x="248" y="762"/>
                </a:lnTo>
                <a:lnTo>
                  <a:pt x="237" y="793"/>
                </a:lnTo>
                <a:lnTo>
                  <a:pt x="229" y="824"/>
                </a:lnTo>
                <a:lnTo>
                  <a:pt x="223" y="855"/>
                </a:lnTo>
                <a:lnTo>
                  <a:pt x="220" y="887"/>
                </a:lnTo>
                <a:lnTo>
                  <a:pt x="218" y="920"/>
                </a:lnTo>
                <a:lnTo>
                  <a:pt x="220" y="960"/>
                </a:lnTo>
                <a:lnTo>
                  <a:pt x="223" y="999"/>
                </a:lnTo>
                <a:lnTo>
                  <a:pt x="231" y="1038"/>
                </a:lnTo>
                <a:lnTo>
                  <a:pt x="241" y="1076"/>
                </a:lnTo>
                <a:lnTo>
                  <a:pt x="255" y="1113"/>
                </a:lnTo>
                <a:lnTo>
                  <a:pt x="271" y="1150"/>
                </a:lnTo>
                <a:lnTo>
                  <a:pt x="290" y="1186"/>
                </a:lnTo>
                <a:lnTo>
                  <a:pt x="311" y="1220"/>
                </a:lnTo>
                <a:lnTo>
                  <a:pt x="336" y="1254"/>
                </a:lnTo>
                <a:lnTo>
                  <a:pt x="362" y="1287"/>
                </a:lnTo>
                <a:lnTo>
                  <a:pt x="391" y="1319"/>
                </a:lnTo>
                <a:lnTo>
                  <a:pt x="424" y="1350"/>
                </a:lnTo>
                <a:lnTo>
                  <a:pt x="457" y="1380"/>
                </a:lnTo>
                <a:lnTo>
                  <a:pt x="495" y="1409"/>
                </a:lnTo>
                <a:lnTo>
                  <a:pt x="534" y="1436"/>
                </a:lnTo>
                <a:lnTo>
                  <a:pt x="576" y="1463"/>
                </a:lnTo>
                <a:lnTo>
                  <a:pt x="619" y="1489"/>
                </a:lnTo>
                <a:lnTo>
                  <a:pt x="666" y="1513"/>
                </a:lnTo>
                <a:lnTo>
                  <a:pt x="715" y="1536"/>
                </a:lnTo>
                <a:lnTo>
                  <a:pt x="766" y="1558"/>
                </a:lnTo>
                <a:lnTo>
                  <a:pt x="819" y="1579"/>
                </a:lnTo>
                <a:lnTo>
                  <a:pt x="874" y="1598"/>
                </a:lnTo>
                <a:lnTo>
                  <a:pt x="932" y="1617"/>
                </a:lnTo>
                <a:lnTo>
                  <a:pt x="992" y="1633"/>
                </a:lnTo>
                <a:lnTo>
                  <a:pt x="1053" y="1649"/>
                </a:lnTo>
                <a:lnTo>
                  <a:pt x="1116" y="1663"/>
                </a:lnTo>
                <a:lnTo>
                  <a:pt x="1181" y="1675"/>
                </a:lnTo>
                <a:lnTo>
                  <a:pt x="1248" y="1686"/>
                </a:lnTo>
                <a:lnTo>
                  <a:pt x="1318" y="1695"/>
                </a:lnTo>
                <a:lnTo>
                  <a:pt x="1389" y="1704"/>
                </a:lnTo>
                <a:lnTo>
                  <a:pt x="1461" y="1710"/>
                </a:lnTo>
                <a:lnTo>
                  <a:pt x="1535" y="1715"/>
                </a:lnTo>
              </a:path>
            </a:pathLst>
          </a:custGeom>
          <a:solidFill>
            <a:schemeClr val="accent1"/>
          </a:solidFill>
          <a:ln w="25400" cap="rnd" cmpd="sng">
            <a:noFill/>
            <a:prstDash val="solid"/>
            <a:round/>
            <a:headEnd/>
            <a:tailEnd/>
          </a:ln>
          <a:effectLst/>
        </p:spPr>
        <p:txBody>
          <a:bodyPr/>
          <a:lstStyle>
            <a:defPPr>
              <a:defRPr lang="es-CL"/>
            </a:defPPr>
            <a:lvl1pPr marL="0" algn="l" defTabSz="1440180" rtl="0" eaLnBrk="1" latinLnBrk="0" hangingPunct="1"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20090" algn="l" defTabSz="1440180" rtl="0" eaLnBrk="1" latinLnBrk="0" hangingPunct="1"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440180" algn="l" defTabSz="1440180" rtl="0" eaLnBrk="1" latinLnBrk="0" hangingPunct="1"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160270" algn="l" defTabSz="1440180" rtl="0" eaLnBrk="1" latinLnBrk="0" hangingPunct="1"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880360" algn="l" defTabSz="1440180" rtl="0" eaLnBrk="1" latinLnBrk="0" hangingPunct="1"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600450" algn="l" defTabSz="1440180" rtl="0" eaLnBrk="1" latinLnBrk="0" hangingPunct="1"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540" algn="l" defTabSz="1440180" rtl="0" eaLnBrk="1" latinLnBrk="0" hangingPunct="1"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040630" algn="l" defTabSz="1440180" rtl="0" eaLnBrk="1" latinLnBrk="0" hangingPunct="1"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760720" algn="l" defTabSz="1440180" rtl="0" eaLnBrk="1" latinLnBrk="0" hangingPunct="1"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s-ES" sz="1800"/>
          </a:p>
        </p:txBody>
      </p:sp>
      <p:sp>
        <p:nvSpPr>
          <p:cNvPr id="12" name="Freeform 1029">
            <a:extLst>
              <a:ext uri="{FF2B5EF4-FFF2-40B4-BE49-F238E27FC236}">
                <a16:creationId xmlns:a16="http://schemas.microsoft.com/office/drawing/2014/main" xmlns="" id="{CD147F46-1F03-F34A-BFA5-1F5720BC9203}"/>
              </a:ext>
            </a:extLst>
          </p:cNvPr>
          <p:cNvSpPr>
            <a:spLocks/>
          </p:cNvSpPr>
          <p:nvPr/>
        </p:nvSpPr>
        <p:spPr bwMode="auto">
          <a:xfrm>
            <a:off x="6884895" y="1661696"/>
            <a:ext cx="1684952" cy="2283874"/>
          </a:xfrm>
          <a:custGeom>
            <a:avLst/>
            <a:gdLst/>
            <a:ahLst/>
            <a:cxnLst>
              <a:cxn ang="0">
                <a:pos x="120" y="5"/>
              </a:cxn>
              <a:cxn ang="0">
                <a:pos x="378" y="34"/>
              </a:cxn>
              <a:cxn ang="0">
                <a:pos x="612" y="79"/>
              </a:cxn>
              <a:cxn ang="0">
                <a:pos x="822" y="139"/>
              </a:cxn>
              <a:cxn ang="0">
                <a:pos x="1008" y="214"/>
              </a:cxn>
              <a:cxn ang="0">
                <a:pos x="1167" y="302"/>
              </a:cxn>
              <a:cxn ang="0">
                <a:pos x="1300" y="401"/>
              </a:cxn>
              <a:cxn ang="0">
                <a:pos x="1408" y="510"/>
              </a:cxn>
              <a:cxn ang="0">
                <a:pos x="1487" y="628"/>
              </a:cxn>
              <a:cxn ang="0">
                <a:pos x="1540" y="754"/>
              </a:cxn>
              <a:cxn ang="0">
                <a:pos x="1563" y="887"/>
              </a:cxn>
              <a:cxn ang="0">
                <a:pos x="1559" y="1006"/>
              </a:cxn>
              <a:cxn ang="0">
                <a:pos x="1528" y="1113"/>
              </a:cxn>
              <a:cxn ang="0">
                <a:pos x="1474" y="1214"/>
              </a:cxn>
              <a:cxn ang="0">
                <a:pos x="1398" y="1310"/>
              </a:cxn>
              <a:cxn ang="0">
                <a:pos x="1299" y="1400"/>
              </a:cxn>
              <a:cxn ang="0">
                <a:pos x="1180" y="1483"/>
              </a:cxn>
              <a:cxn ang="0">
                <a:pos x="1042" y="1559"/>
              </a:cxn>
              <a:cxn ang="0">
                <a:pos x="889" y="1628"/>
              </a:cxn>
              <a:cxn ang="0">
                <a:pos x="720" y="1689"/>
              </a:cxn>
              <a:cxn ang="0">
                <a:pos x="536" y="1741"/>
              </a:cxn>
              <a:cxn ang="0">
                <a:pos x="339" y="1784"/>
              </a:cxn>
              <a:cxn ang="0">
                <a:pos x="328" y="1609"/>
              </a:cxn>
              <a:cxn ang="0">
                <a:pos x="428" y="1668"/>
              </a:cxn>
              <a:cxn ang="0">
                <a:pos x="588" y="1623"/>
              </a:cxn>
              <a:cxn ang="0">
                <a:pos x="735" y="1571"/>
              </a:cxn>
              <a:cxn ang="0">
                <a:pos x="870" y="1511"/>
              </a:cxn>
              <a:cxn ang="0">
                <a:pos x="990" y="1445"/>
              </a:cxn>
              <a:cxn ang="0">
                <a:pos x="1094" y="1372"/>
              </a:cxn>
              <a:cxn ang="0">
                <a:pos x="1182" y="1294"/>
              </a:cxn>
              <a:cxn ang="0">
                <a:pos x="1253" y="1211"/>
              </a:cxn>
              <a:cxn ang="0">
                <a:pos x="1303" y="1122"/>
              </a:cxn>
              <a:cxn ang="0">
                <a:pos x="1335" y="1030"/>
              </a:cxn>
              <a:cxn ang="0">
                <a:pos x="1346" y="934"/>
              </a:cxn>
              <a:cxn ang="0">
                <a:pos x="1333" y="816"/>
              </a:cxn>
              <a:cxn ang="0">
                <a:pos x="1293" y="704"/>
              </a:cxn>
              <a:cxn ang="0">
                <a:pos x="1228" y="600"/>
              </a:cxn>
              <a:cxn ang="0">
                <a:pos x="1140" y="504"/>
              </a:cxn>
              <a:cxn ang="0">
                <a:pos x="1030" y="418"/>
              </a:cxn>
              <a:cxn ang="0">
                <a:pos x="898" y="341"/>
              </a:cxn>
              <a:cxn ang="0">
                <a:pos x="745" y="275"/>
              </a:cxn>
              <a:cxn ang="0">
                <a:pos x="573" y="221"/>
              </a:cxn>
              <a:cxn ang="0">
                <a:pos x="383" y="179"/>
              </a:cxn>
              <a:cxn ang="0">
                <a:pos x="175" y="150"/>
              </a:cxn>
            </a:cxnLst>
            <a:rect l="0" t="0" r="r" b="b"/>
            <a:pathLst>
              <a:path w="1566" h="1855">
                <a:moveTo>
                  <a:pt x="29" y="139"/>
                </a:moveTo>
                <a:lnTo>
                  <a:pt x="29" y="0"/>
                </a:lnTo>
                <a:lnTo>
                  <a:pt x="120" y="5"/>
                </a:lnTo>
                <a:lnTo>
                  <a:pt x="208" y="13"/>
                </a:lnTo>
                <a:lnTo>
                  <a:pt x="294" y="23"/>
                </a:lnTo>
                <a:lnTo>
                  <a:pt x="378" y="34"/>
                </a:lnTo>
                <a:lnTo>
                  <a:pt x="459" y="47"/>
                </a:lnTo>
                <a:lnTo>
                  <a:pt x="536" y="62"/>
                </a:lnTo>
                <a:lnTo>
                  <a:pt x="612" y="79"/>
                </a:lnTo>
                <a:lnTo>
                  <a:pt x="685" y="98"/>
                </a:lnTo>
                <a:lnTo>
                  <a:pt x="754" y="118"/>
                </a:lnTo>
                <a:lnTo>
                  <a:pt x="822" y="139"/>
                </a:lnTo>
                <a:lnTo>
                  <a:pt x="886" y="163"/>
                </a:lnTo>
                <a:lnTo>
                  <a:pt x="948" y="188"/>
                </a:lnTo>
                <a:lnTo>
                  <a:pt x="1008" y="214"/>
                </a:lnTo>
                <a:lnTo>
                  <a:pt x="1064" y="242"/>
                </a:lnTo>
                <a:lnTo>
                  <a:pt x="1117" y="271"/>
                </a:lnTo>
                <a:lnTo>
                  <a:pt x="1167" y="302"/>
                </a:lnTo>
                <a:lnTo>
                  <a:pt x="1215" y="333"/>
                </a:lnTo>
                <a:lnTo>
                  <a:pt x="1258" y="366"/>
                </a:lnTo>
                <a:lnTo>
                  <a:pt x="1300" y="401"/>
                </a:lnTo>
                <a:lnTo>
                  <a:pt x="1338" y="436"/>
                </a:lnTo>
                <a:lnTo>
                  <a:pt x="1375" y="472"/>
                </a:lnTo>
                <a:lnTo>
                  <a:pt x="1408" y="510"/>
                </a:lnTo>
                <a:lnTo>
                  <a:pt x="1437" y="548"/>
                </a:lnTo>
                <a:lnTo>
                  <a:pt x="1463" y="588"/>
                </a:lnTo>
                <a:lnTo>
                  <a:pt x="1487" y="628"/>
                </a:lnTo>
                <a:lnTo>
                  <a:pt x="1507" y="669"/>
                </a:lnTo>
                <a:lnTo>
                  <a:pt x="1525" y="712"/>
                </a:lnTo>
                <a:lnTo>
                  <a:pt x="1540" y="754"/>
                </a:lnTo>
                <a:lnTo>
                  <a:pt x="1550" y="798"/>
                </a:lnTo>
                <a:lnTo>
                  <a:pt x="1559" y="842"/>
                </a:lnTo>
                <a:lnTo>
                  <a:pt x="1563" y="887"/>
                </a:lnTo>
                <a:lnTo>
                  <a:pt x="1565" y="932"/>
                </a:lnTo>
                <a:lnTo>
                  <a:pt x="1563" y="969"/>
                </a:lnTo>
                <a:lnTo>
                  <a:pt x="1559" y="1006"/>
                </a:lnTo>
                <a:lnTo>
                  <a:pt x="1552" y="1042"/>
                </a:lnTo>
                <a:lnTo>
                  <a:pt x="1542" y="1078"/>
                </a:lnTo>
                <a:lnTo>
                  <a:pt x="1528" y="1113"/>
                </a:lnTo>
                <a:lnTo>
                  <a:pt x="1514" y="1147"/>
                </a:lnTo>
                <a:lnTo>
                  <a:pt x="1495" y="1181"/>
                </a:lnTo>
                <a:lnTo>
                  <a:pt x="1474" y="1214"/>
                </a:lnTo>
                <a:lnTo>
                  <a:pt x="1451" y="1247"/>
                </a:lnTo>
                <a:lnTo>
                  <a:pt x="1426" y="1279"/>
                </a:lnTo>
                <a:lnTo>
                  <a:pt x="1398" y="1310"/>
                </a:lnTo>
                <a:lnTo>
                  <a:pt x="1366" y="1341"/>
                </a:lnTo>
                <a:lnTo>
                  <a:pt x="1334" y="1371"/>
                </a:lnTo>
                <a:lnTo>
                  <a:pt x="1299" y="1400"/>
                </a:lnTo>
                <a:lnTo>
                  <a:pt x="1261" y="1428"/>
                </a:lnTo>
                <a:lnTo>
                  <a:pt x="1222" y="1456"/>
                </a:lnTo>
                <a:lnTo>
                  <a:pt x="1180" y="1483"/>
                </a:lnTo>
                <a:lnTo>
                  <a:pt x="1137" y="1509"/>
                </a:lnTo>
                <a:lnTo>
                  <a:pt x="1091" y="1535"/>
                </a:lnTo>
                <a:lnTo>
                  <a:pt x="1042" y="1559"/>
                </a:lnTo>
                <a:lnTo>
                  <a:pt x="994" y="1583"/>
                </a:lnTo>
                <a:lnTo>
                  <a:pt x="942" y="1606"/>
                </a:lnTo>
                <a:lnTo>
                  <a:pt x="889" y="1628"/>
                </a:lnTo>
                <a:lnTo>
                  <a:pt x="834" y="1649"/>
                </a:lnTo>
                <a:lnTo>
                  <a:pt x="778" y="1669"/>
                </a:lnTo>
                <a:lnTo>
                  <a:pt x="720" y="1689"/>
                </a:lnTo>
                <a:lnTo>
                  <a:pt x="660" y="1707"/>
                </a:lnTo>
                <a:lnTo>
                  <a:pt x="599" y="1724"/>
                </a:lnTo>
                <a:lnTo>
                  <a:pt x="536" y="1741"/>
                </a:lnTo>
                <a:lnTo>
                  <a:pt x="472" y="1756"/>
                </a:lnTo>
                <a:lnTo>
                  <a:pt x="406" y="1771"/>
                </a:lnTo>
                <a:lnTo>
                  <a:pt x="339" y="1784"/>
                </a:lnTo>
                <a:lnTo>
                  <a:pt x="399" y="1854"/>
                </a:lnTo>
                <a:lnTo>
                  <a:pt x="0" y="1786"/>
                </a:lnTo>
                <a:lnTo>
                  <a:pt x="328" y="1609"/>
                </a:lnTo>
                <a:lnTo>
                  <a:pt x="313" y="1694"/>
                </a:lnTo>
                <a:lnTo>
                  <a:pt x="371" y="1681"/>
                </a:lnTo>
                <a:lnTo>
                  <a:pt x="428" y="1668"/>
                </a:lnTo>
                <a:lnTo>
                  <a:pt x="482" y="1654"/>
                </a:lnTo>
                <a:lnTo>
                  <a:pt x="536" y="1639"/>
                </a:lnTo>
                <a:lnTo>
                  <a:pt x="588" y="1623"/>
                </a:lnTo>
                <a:lnTo>
                  <a:pt x="639" y="1606"/>
                </a:lnTo>
                <a:lnTo>
                  <a:pt x="688" y="1589"/>
                </a:lnTo>
                <a:lnTo>
                  <a:pt x="735" y="1571"/>
                </a:lnTo>
                <a:lnTo>
                  <a:pt x="783" y="1552"/>
                </a:lnTo>
                <a:lnTo>
                  <a:pt x="826" y="1531"/>
                </a:lnTo>
                <a:lnTo>
                  <a:pt x="870" y="1511"/>
                </a:lnTo>
                <a:lnTo>
                  <a:pt x="912" y="1490"/>
                </a:lnTo>
                <a:lnTo>
                  <a:pt x="952" y="1467"/>
                </a:lnTo>
                <a:lnTo>
                  <a:pt x="990" y="1445"/>
                </a:lnTo>
                <a:lnTo>
                  <a:pt x="1027" y="1421"/>
                </a:lnTo>
                <a:lnTo>
                  <a:pt x="1062" y="1397"/>
                </a:lnTo>
                <a:lnTo>
                  <a:pt x="1094" y="1372"/>
                </a:lnTo>
                <a:lnTo>
                  <a:pt x="1126" y="1347"/>
                </a:lnTo>
                <a:lnTo>
                  <a:pt x="1155" y="1321"/>
                </a:lnTo>
                <a:lnTo>
                  <a:pt x="1182" y="1294"/>
                </a:lnTo>
                <a:lnTo>
                  <a:pt x="1208" y="1266"/>
                </a:lnTo>
                <a:lnTo>
                  <a:pt x="1231" y="1239"/>
                </a:lnTo>
                <a:lnTo>
                  <a:pt x="1253" y="1211"/>
                </a:lnTo>
                <a:lnTo>
                  <a:pt x="1271" y="1182"/>
                </a:lnTo>
                <a:lnTo>
                  <a:pt x="1289" y="1152"/>
                </a:lnTo>
                <a:lnTo>
                  <a:pt x="1303" y="1122"/>
                </a:lnTo>
                <a:lnTo>
                  <a:pt x="1316" y="1092"/>
                </a:lnTo>
                <a:lnTo>
                  <a:pt x="1327" y="1061"/>
                </a:lnTo>
                <a:lnTo>
                  <a:pt x="1335" y="1030"/>
                </a:lnTo>
                <a:lnTo>
                  <a:pt x="1341" y="999"/>
                </a:lnTo>
                <a:lnTo>
                  <a:pt x="1344" y="967"/>
                </a:lnTo>
                <a:lnTo>
                  <a:pt x="1346" y="934"/>
                </a:lnTo>
                <a:lnTo>
                  <a:pt x="1344" y="894"/>
                </a:lnTo>
                <a:lnTo>
                  <a:pt x="1341" y="855"/>
                </a:lnTo>
                <a:lnTo>
                  <a:pt x="1333" y="816"/>
                </a:lnTo>
                <a:lnTo>
                  <a:pt x="1323" y="778"/>
                </a:lnTo>
                <a:lnTo>
                  <a:pt x="1309" y="741"/>
                </a:lnTo>
                <a:lnTo>
                  <a:pt x="1293" y="704"/>
                </a:lnTo>
                <a:lnTo>
                  <a:pt x="1274" y="668"/>
                </a:lnTo>
                <a:lnTo>
                  <a:pt x="1253" y="634"/>
                </a:lnTo>
                <a:lnTo>
                  <a:pt x="1228" y="600"/>
                </a:lnTo>
                <a:lnTo>
                  <a:pt x="1202" y="567"/>
                </a:lnTo>
                <a:lnTo>
                  <a:pt x="1173" y="535"/>
                </a:lnTo>
                <a:lnTo>
                  <a:pt x="1140" y="504"/>
                </a:lnTo>
                <a:lnTo>
                  <a:pt x="1107" y="474"/>
                </a:lnTo>
                <a:lnTo>
                  <a:pt x="1069" y="445"/>
                </a:lnTo>
                <a:lnTo>
                  <a:pt x="1030" y="418"/>
                </a:lnTo>
                <a:lnTo>
                  <a:pt x="988" y="391"/>
                </a:lnTo>
                <a:lnTo>
                  <a:pt x="945" y="365"/>
                </a:lnTo>
                <a:lnTo>
                  <a:pt x="898" y="341"/>
                </a:lnTo>
                <a:lnTo>
                  <a:pt x="849" y="318"/>
                </a:lnTo>
                <a:lnTo>
                  <a:pt x="798" y="296"/>
                </a:lnTo>
                <a:lnTo>
                  <a:pt x="745" y="275"/>
                </a:lnTo>
                <a:lnTo>
                  <a:pt x="690" y="256"/>
                </a:lnTo>
                <a:lnTo>
                  <a:pt x="632" y="237"/>
                </a:lnTo>
                <a:lnTo>
                  <a:pt x="573" y="221"/>
                </a:lnTo>
                <a:lnTo>
                  <a:pt x="511" y="205"/>
                </a:lnTo>
                <a:lnTo>
                  <a:pt x="448" y="191"/>
                </a:lnTo>
                <a:lnTo>
                  <a:pt x="383" y="179"/>
                </a:lnTo>
                <a:lnTo>
                  <a:pt x="316" y="168"/>
                </a:lnTo>
                <a:lnTo>
                  <a:pt x="246" y="159"/>
                </a:lnTo>
                <a:lnTo>
                  <a:pt x="175" y="150"/>
                </a:lnTo>
                <a:lnTo>
                  <a:pt x="103" y="144"/>
                </a:lnTo>
                <a:lnTo>
                  <a:pt x="29" y="139"/>
                </a:lnTo>
              </a:path>
            </a:pathLst>
          </a:custGeom>
          <a:solidFill>
            <a:schemeClr val="accent1"/>
          </a:solidFill>
          <a:ln w="25400" cap="rnd" cmpd="sng">
            <a:noFill/>
            <a:prstDash val="solid"/>
            <a:round/>
            <a:headEnd/>
            <a:tailEnd/>
          </a:ln>
          <a:effectLst/>
        </p:spPr>
        <p:txBody>
          <a:bodyPr/>
          <a:lstStyle>
            <a:defPPr>
              <a:defRPr lang="es-CL"/>
            </a:defPPr>
            <a:lvl1pPr marL="0" algn="l" defTabSz="1440180" rtl="0" eaLnBrk="1" latinLnBrk="0" hangingPunct="1"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20090" algn="l" defTabSz="1440180" rtl="0" eaLnBrk="1" latinLnBrk="0" hangingPunct="1"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440180" algn="l" defTabSz="1440180" rtl="0" eaLnBrk="1" latinLnBrk="0" hangingPunct="1"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160270" algn="l" defTabSz="1440180" rtl="0" eaLnBrk="1" latinLnBrk="0" hangingPunct="1"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880360" algn="l" defTabSz="1440180" rtl="0" eaLnBrk="1" latinLnBrk="0" hangingPunct="1"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600450" algn="l" defTabSz="1440180" rtl="0" eaLnBrk="1" latinLnBrk="0" hangingPunct="1"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540" algn="l" defTabSz="1440180" rtl="0" eaLnBrk="1" latinLnBrk="0" hangingPunct="1"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040630" algn="l" defTabSz="1440180" rtl="0" eaLnBrk="1" latinLnBrk="0" hangingPunct="1"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760720" algn="l" defTabSz="1440180" rtl="0" eaLnBrk="1" latinLnBrk="0" hangingPunct="1"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s-ES" sz="1800" dirty="0"/>
          </a:p>
        </p:txBody>
      </p:sp>
      <p:pic>
        <p:nvPicPr>
          <p:cNvPr id="13" name="Picture 1030">
            <a:extLst>
              <a:ext uri="{FF2B5EF4-FFF2-40B4-BE49-F238E27FC236}">
                <a16:creationId xmlns:a16="http://schemas.microsoft.com/office/drawing/2014/main" xmlns="" id="{AE819804-1626-C747-8CF2-906FE3CD485A}"/>
              </a:ext>
            </a:extLst>
          </p:cNvPr>
          <p:cNvPicPr>
            <a:picLocks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549742" y="1661696"/>
            <a:ext cx="822033" cy="4752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4" name="Picture 1031">
            <a:extLst>
              <a:ext uri="{FF2B5EF4-FFF2-40B4-BE49-F238E27FC236}">
                <a16:creationId xmlns:a16="http://schemas.microsoft.com/office/drawing/2014/main" xmlns="" id="{DEA987A9-EA4F-6844-8EFF-4A10B3B0124E}"/>
              </a:ext>
            </a:extLst>
          </p:cNvPr>
          <p:cNvPicPr>
            <a:picLocks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644202" y="3728013"/>
            <a:ext cx="822033" cy="4469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6" name="Freeform 1032">
            <a:extLst>
              <a:ext uri="{FF2B5EF4-FFF2-40B4-BE49-F238E27FC236}">
                <a16:creationId xmlns:a16="http://schemas.microsoft.com/office/drawing/2014/main" xmlns="" id="{A31956D0-9B69-4245-A17F-695874563B2C}"/>
              </a:ext>
            </a:extLst>
          </p:cNvPr>
          <p:cNvSpPr>
            <a:spLocks/>
          </p:cNvSpPr>
          <p:nvPr/>
        </p:nvSpPr>
        <p:spPr bwMode="auto">
          <a:xfrm>
            <a:off x="5123663" y="4270240"/>
            <a:ext cx="1248112" cy="1472514"/>
          </a:xfrm>
          <a:custGeom>
            <a:avLst/>
            <a:gdLst/>
            <a:ahLst/>
            <a:cxnLst>
              <a:cxn ang="0">
                <a:pos x="816" y="4"/>
              </a:cxn>
              <a:cxn ang="0">
                <a:pos x="1011" y="24"/>
              </a:cxn>
              <a:cxn ang="0">
                <a:pos x="1120" y="50"/>
              </a:cxn>
              <a:cxn ang="0">
                <a:pos x="1159" y="85"/>
              </a:cxn>
              <a:cxn ang="0">
                <a:pos x="1139" y="128"/>
              </a:cxn>
              <a:cxn ang="0">
                <a:pos x="1080" y="183"/>
              </a:cxn>
              <a:cxn ang="0">
                <a:pos x="994" y="249"/>
              </a:cxn>
              <a:cxn ang="0">
                <a:pos x="897" y="327"/>
              </a:cxn>
              <a:cxn ang="0">
                <a:pos x="805" y="420"/>
              </a:cxn>
              <a:cxn ang="0">
                <a:pos x="732" y="527"/>
              </a:cxn>
              <a:cxn ang="0">
                <a:pos x="693" y="650"/>
              </a:cxn>
              <a:cxn ang="0">
                <a:pos x="690" y="752"/>
              </a:cxn>
              <a:cxn ang="0">
                <a:pos x="695" y="826"/>
              </a:cxn>
              <a:cxn ang="0">
                <a:pos x="699" y="888"/>
              </a:cxn>
              <a:cxn ang="0">
                <a:pos x="704" y="938"/>
              </a:cxn>
              <a:cxn ang="0">
                <a:pos x="702" y="979"/>
              </a:cxn>
              <a:cxn ang="0">
                <a:pos x="694" y="1012"/>
              </a:cxn>
              <a:cxn ang="0">
                <a:pos x="675" y="1039"/>
              </a:cxn>
              <a:cxn ang="0">
                <a:pos x="644" y="1061"/>
              </a:cxn>
              <a:cxn ang="0">
                <a:pos x="598" y="1080"/>
              </a:cxn>
              <a:cxn ang="0">
                <a:pos x="533" y="1099"/>
              </a:cxn>
              <a:cxn ang="0">
                <a:pos x="448" y="1117"/>
              </a:cxn>
              <a:cxn ang="0">
                <a:pos x="405" y="1126"/>
              </a:cxn>
              <a:cxn ang="0">
                <a:pos x="356" y="1136"/>
              </a:cxn>
              <a:cxn ang="0">
                <a:pos x="302" y="1146"/>
              </a:cxn>
              <a:cxn ang="0">
                <a:pos x="241" y="1158"/>
              </a:cxn>
              <a:cxn ang="0">
                <a:pos x="173" y="1171"/>
              </a:cxn>
              <a:cxn ang="0">
                <a:pos x="0" y="1195"/>
              </a:cxn>
              <a:cxn ang="0">
                <a:pos x="151" y="1139"/>
              </a:cxn>
              <a:cxn ang="0">
                <a:pos x="198" y="1129"/>
              </a:cxn>
              <a:cxn ang="0">
                <a:pos x="228" y="1121"/>
              </a:cxn>
              <a:cxn ang="0">
                <a:pos x="250" y="1116"/>
              </a:cxn>
              <a:cxn ang="0">
                <a:pos x="271" y="1110"/>
              </a:cxn>
              <a:cxn ang="0">
                <a:pos x="298" y="1104"/>
              </a:cxn>
              <a:cxn ang="0">
                <a:pos x="363" y="1089"/>
              </a:cxn>
              <a:cxn ang="0">
                <a:pos x="412" y="1071"/>
              </a:cxn>
              <a:cxn ang="0">
                <a:pos x="447" y="1050"/>
              </a:cxn>
              <a:cxn ang="0">
                <a:pos x="469" y="1026"/>
              </a:cxn>
              <a:cxn ang="0">
                <a:pos x="481" y="997"/>
              </a:cxn>
              <a:cxn ang="0">
                <a:pos x="486" y="962"/>
              </a:cxn>
              <a:cxn ang="0">
                <a:pos x="486" y="921"/>
              </a:cxn>
              <a:cxn ang="0">
                <a:pos x="481" y="872"/>
              </a:cxn>
              <a:cxn ang="0">
                <a:pos x="475" y="814"/>
              </a:cxn>
              <a:cxn ang="0">
                <a:pos x="471" y="747"/>
              </a:cxn>
              <a:cxn ang="0">
                <a:pos x="473" y="657"/>
              </a:cxn>
              <a:cxn ang="0">
                <a:pos x="515" y="550"/>
              </a:cxn>
              <a:cxn ang="0">
                <a:pos x="593" y="460"/>
              </a:cxn>
              <a:cxn ang="0">
                <a:pos x="693" y="384"/>
              </a:cxn>
              <a:cxn ang="0">
                <a:pos x="801" y="322"/>
              </a:cxn>
              <a:cxn ang="0">
                <a:pos x="901" y="272"/>
              </a:cxn>
              <a:cxn ang="0">
                <a:pos x="981" y="232"/>
              </a:cxn>
              <a:cxn ang="0">
                <a:pos x="1026" y="200"/>
              </a:cxn>
              <a:cxn ang="0">
                <a:pos x="1019" y="176"/>
              </a:cxn>
              <a:cxn ang="0">
                <a:pos x="949" y="158"/>
              </a:cxn>
              <a:cxn ang="0">
                <a:pos x="800" y="144"/>
              </a:cxn>
            </a:cxnLst>
            <a:rect l="0" t="0" r="r" b="b"/>
            <a:pathLst>
              <a:path w="1160" h="1196">
                <a:moveTo>
                  <a:pt x="730" y="139"/>
                </a:moveTo>
                <a:lnTo>
                  <a:pt x="730" y="0"/>
                </a:lnTo>
                <a:lnTo>
                  <a:pt x="816" y="4"/>
                </a:lnTo>
                <a:lnTo>
                  <a:pt x="892" y="10"/>
                </a:lnTo>
                <a:lnTo>
                  <a:pt x="956" y="17"/>
                </a:lnTo>
                <a:lnTo>
                  <a:pt x="1011" y="24"/>
                </a:lnTo>
                <a:lnTo>
                  <a:pt x="1056" y="32"/>
                </a:lnTo>
                <a:lnTo>
                  <a:pt x="1093" y="41"/>
                </a:lnTo>
                <a:lnTo>
                  <a:pt x="1120" y="50"/>
                </a:lnTo>
                <a:lnTo>
                  <a:pt x="1139" y="61"/>
                </a:lnTo>
                <a:lnTo>
                  <a:pt x="1152" y="72"/>
                </a:lnTo>
                <a:lnTo>
                  <a:pt x="1159" y="85"/>
                </a:lnTo>
                <a:lnTo>
                  <a:pt x="1157" y="98"/>
                </a:lnTo>
                <a:lnTo>
                  <a:pt x="1151" y="113"/>
                </a:lnTo>
                <a:lnTo>
                  <a:pt x="1139" y="128"/>
                </a:lnTo>
                <a:lnTo>
                  <a:pt x="1124" y="145"/>
                </a:lnTo>
                <a:lnTo>
                  <a:pt x="1103" y="163"/>
                </a:lnTo>
                <a:lnTo>
                  <a:pt x="1080" y="183"/>
                </a:lnTo>
                <a:lnTo>
                  <a:pt x="1054" y="203"/>
                </a:lnTo>
                <a:lnTo>
                  <a:pt x="1025" y="225"/>
                </a:lnTo>
                <a:lnTo>
                  <a:pt x="994" y="249"/>
                </a:lnTo>
                <a:lnTo>
                  <a:pt x="963" y="273"/>
                </a:lnTo>
                <a:lnTo>
                  <a:pt x="930" y="299"/>
                </a:lnTo>
                <a:lnTo>
                  <a:pt x="897" y="327"/>
                </a:lnTo>
                <a:lnTo>
                  <a:pt x="866" y="357"/>
                </a:lnTo>
                <a:lnTo>
                  <a:pt x="834" y="387"/>
                </a:lnTo>
                <a:lnTo>
                  <a:pt x="805" y="420"/>
                </a:lnTo>
                <a:lnTo>
                  <a:pt x="778" y="454"/>
                </a:lnTo>
                <a:lnTo>
                  <a:pt x="753" y="489"/>
                </a:lnTo>
                <a:lnTo>
                  <a:pt x="732" y="527"/>
                </a:lnTo>
                <a:lnTo>
                  <a:pt x="714" y="566"/>
                </a:lnTo>
                <a:lnTo>
                  <a:pt x="702" y="607"/>
                </a:lnTo>
                <a:lnTo>
                  <a:pt x="693" y="650"/>
                </a:lnTo>
                <a:lnTo>
                  <a:pt x="689" y="695"/>
                </a:lnTo>
                <a:lnTo>
                  <a:pt x="689" y="724"/>
                </a:lnTo>
                <a:lnTo>
                  <a:pt x="690" y="752"/>
                </a:lnTo>
                <a:lnTo>
                  <a:pt x="692" y="778"/>
                </a:lnTo>
                <a:lnTo>
                  <a:pt x="694" y="803"/>
                </a:lnTo>
                <a:lnTo>
                  <a:pt x="695" y="826"/>
                </a:lnTo>
                <a:lnTo>
                  <a:pt x="697" y="848"/>
                </a:lnTo>
                <a:lnTo>
                  <a:pt x="698" y="869"/>
                </a:lnTo>
                <a:lnTo>
                  <a:pt x="699" y="888"/>
                </a:lnTo>
                <a:lnTo>
                  <a:pt x="702" y="906"/>
                </a:lnTo>
                <a:lnTo>
                  <a:pt x="703" y="922"/>
                </a:lnTo>
                <a:lnTo>
                  <a:pt x="704" y="938"/>
                </a:lnTo>
                <a:lnTo>
                  <a:pt x="704" y="953"/>
                </a:lnTo>
                <a:lnTo>
                  <a:pt x="704" y="966"/>
                </a:lnTo>
                <a:lnTo>
                  <a:pt x="702" y="979"/>
                </a:lnTo>
                <a:lnTo>
                  <a:pt x="701" y="991"/>
                </a:lnTo>
                <a:lnTo>
                  <a:pt x="697" y="1002"/>
                </a:lnTo>
                <a:lnTo>
                  <a:pt x="694" y="1012"/>
                </a:lnTo>
                <a:lnTo>
                  <a:pt x="689" y="1021"/>
                </a:lnTo>
                <a:lnTo>
                  <a:pt x="683" y="1031"/>
                </a:lnTo>
                <a:lnTo>
                  <a:pt x="675" y="1039"/>
                </a:lnTo>
                <a:lnTo>
                  <a:pt x="667" y="1046"/>
                </a:lnTo>
                <a:lnTo>
                  <a:pt x="657" y="1054"/>
                </a:lnTo>
                <a:lnTo>
                  <a:pt x="644" y="1061"/>
                </a:lnTo>
                <a:lnTo>
                  <a:pt x="631" y="1068"/>
                </a:lnTo>
                <a:lnTo>
                  <a:pt x="615" y="1074"/>
                </a:lnTo>
                <a:lnTo>
                  <a:pt x="598" y="1080"/>
                </a:lnTo>
                <a:lnTo>
                  <a:pt x="579" y="1087"/>
                </a:lnTo>
                <a:lnTo>
                  <a:pt x="556" y="1092"/>
                </a:lnTo>
                <a:lnTo>
                  <a:pt x="533" y="1099"/>
                </a:lnTo>
                <a:lnTo>
                  <a:pt x="508" y="1105"/>
                </a:lnTo>
                <a:lnTo>
                  <a:pt x="480" y="1111"/>
                </a:lnTo>
                <a:lnTo>
                  <a:pt x="448" y="1117"/>
                </a:lnTo>
                <a:lnTo>
                  <a:pt x="434" y="1120"/>
                </a:lnTo>
                <a:lnTo>
                  <a:pt x="419" y="1123"/>
                </a:lnTo>
                <a:lnTo>
                  <a:pt x="405" y="1126"/>
                </a:lnTo>
                <a:lnTo>
                  <a:pt x="389" y="1129"/>
                </a:lnTo>
                <a:lnTo>
                  <a:pt x="373" y="1132"/>
                </a:lnTo>
                <a:lnTo>
                  <a:pt x="356" y="1136"/>
                </a:lnTo>
                <a:lnTo>
                  <a:pt x="339" y="1139"/>
                </a:lnTo>
                <a:lnTo>
                  <a:pt x="320" y="1143"/>
                </a:lnTo>
                <a:lnTo>
                  <a:pt x="302" y="1146"/>
                </a:lnTo>
                <a:lnTo>
                  <a:pt x="283" y="1150"/>
                </a:lnTo>
                <a:lnTo>
                  <a:pt x="263" y="1154"/>
                </a:lnTo>
                <a:lnTo>
                  <a:pt x="241" y="1158"/>
                </a:lnTo>
                <a:lnTo>
                  <a:pt x="219" y="1163"/>
                </a:lnTo>
                <a:lnTo>
                  <a:pt x="196" y="1167"/>
                </a:lnTo>
                <a:lnTo>
                  <a:pt x="173" y="1171"/>
                </a:lnTo>
                <a:lnTo>
                  <a:pt x="148" y="1176"/>
                </a:lnTo>
                <a:lnTo>
                  <a:pt x="199" y="1194"/>
                </a:lnTo>
                <a:lnTo>
                  <a:pt x="0" y="1195"/>
                </a:lnTo>
                <a:lnTo>
                  <a:pt x="141" y="1106"/>
                </a:lnTo>
                <a:lnTo>
                  <a:pt x="131" y="1143"/>
                </a:lnTo>
                <a:lnTo>
                  <a:pt x="151" y="1139"/>
                </a:lnTo>
                <a:lnTo>
                  <a:pt x="168" y="1135"/>
                </a:lnTo>
                <a:lnTo>
                  <a:pt x="184" y="1131"/>
                </a:lnTo>
                <a:lnTo>
                  <a:pt x="198" y="1129"/>
                </a:lnTo>
                <a:lnTo>
                  <a:pt x="209" y="1126"/>
                </a:lnTo>
                <a:lnTo>
                  <a:pt x="219" y="1123"/>
                </a:lnTo>
                <a:lnTo>
                  <a:pt x="228" y="1121"/>
                </a:lnTo>
                <a:lnTo>
                  <a:pt x="236" y="1119"/>
                </a:lnTo>
                <a:lnTo>
                  <a:pt x="243" y="1117"/>
                </a:lnTo>
                <a:lnTo>
                  <a:pt x="250" y="1116"/>
                </a:lnTo>
                <a:lnTo>
                  <a:pt x="257" y="1114"/>
                </a:lnTo>
                <a:lnTo>
                  <a:pt x="264" y="1112"/>
                </a:lnTo>
                <a:lnTo>
                  <a:pt x="271" y="1110"/>
                </a:lnTo>
                <a:lnTo>
                  <a:pt x="279" y="1108"/>
                </a:lnTo>
                <a:lnTo>
                  <a:pt x="288" y="1106"/>
                </a:lnTo>
                <a:lnTo>
                  <a:pt x="298" y="1104"/>
                </a:lnTo>
                <a:lnTo>
                  <a:pt x="321" y="1099"/>
                </a:lnTo>
                <a:lnTo>
                  <a:pt x="343" y="1094"/>
                </a:lnTo>
                <a:lnTo>
                  <a:pt x="363" y="1089"/>
                </a:lnTo>
                <a:lnTo>
                  <a:pt x="381" y="1083"/>
                </a:lnTo>
                <a:lnTo>
                  <a:pt x="398" y="1077"/>
                </a:lnTo>
                <a:lnTo>
                  <a:pt x="412" y="1071"/>
                </a:lnTo>
                <a:lnTo>
                  <a:pt x="425" y="1065"/>
                </a:lnTo>
                <a:lnTo>
                  <a:pt x="437" y="1057"/>
                </a:lnTo>
                <a:lnTo>
                  <a:pt x="447" y="1050"/>
                </a:lnTo>
                <a:lnTo>
                  <a:pt x="455" y="1043"/>
                </a:lnTo>
                <a:lnTo>
                  <a:pt x="463" y="1035"/>
                </a:lnTo>
                <a:lnTo>
                  <a:pt x="469" y="1026"/>
                </a:lnTo>
                <a:lnTo>
                  <a:pt x="474" y="1017"/>
                </a:lnTo>
                <a:lnTo>
                  <a:pt x="478" y="1007"/>
                </a:lnTo>
                <a:lnTo>
                  <a:pt x="481" y="997"/>
                </a:lnTo>
                <a:lnTo>
                  <a:pt x="483" y="986"/>
                </a:lnTo>
                <a:lnTo>
                  <a:pt x="486" y="974"/>
                </a:lnTo>
                <a:lnTo>
                  <a:pt x="486" y="962"/>
                </a:lnTo>
                <a:lnTo>
                  <a:pt x="486" y="949"/>
                </a:lnTo>
                <a:lnTo>
                  <a:pt x="486" y="935"/>
                </a:lnTo>
                <a:lnTo>
                  <a:pt x="486" y="921"/>
                </a:lnTo>
                <a:lnTo>
                  <a:pt x="483" y="905"/>
                </a:lnTo>
                <a:lnTo>
                  <a:pt x="482" y="889"/>
                </a:lnTo>
                <a:lnTo>
                  <a:pt x="481" y="872"/>
                </a:lnTo>
                <a:lnTo>
                  <a:pt x="480" y="853"/>
                </a:lnTo>
                <a:lnTo>
                  <a:pt x="478" y="834"/>
                </a:lnTo>
                <a:lnTo>
                  <a:pt x="475" y="814"/>
                </a:lnTo>
                <a:lnTo>
                  <a:pt x="474" y="793"/>
                </a:lnTo>
                <a:lnTo>
                  <a:pt x="473" y="771"/>
                </a:lnTo>
                <a:lnTo>
                  <a:pt x="471" y="747"/>
                </a:lnTo>
                <a:lnTo>
                  <a:pt x="471" y="723"/>
                </a:lnTo>
                <a:lnTo>
                  <a:pt x="471" y="697"/>
                </a:lnTo>
                <a:lnTo>
                  <a:pt x="473" y="657"/>
                </a:lnTo>
                <a:lnTo>
                  <a:pt x="482" y="620"/>
                </a:lnTo>
                <a:lnTo>
                  <a:pt x="496" y="584"/>
                </a:lnTo>
                <a:lnTo>
                  <a:pt x="515" y="550"/>
                </a:lnTo>
                <a:lnTo>
                  <a:pt x="537" y="518"/>
                </a:lnTo>
                <a:lnTo>
                  <a:pt x="563" y="488"/>
                </a:lnTo>
                <a:lnTo>
                  <a:pt x="593" y="460"/>
                </a:lnTo>
                <a:lnTo>
                  <a:pt x="624" y="433"/>
                </a:lnTo>
                <a:lnTo>
                  <a:pt x="658" y="408"/>
                </a:lnTo>
                <a:lnTo>
                  <a:pt x="693" y="384"/>
                </a:lnTo>
                <a:lnTo>
                  <a:pt x="728" y="362"/>
                </a:lnTo>
                <a:lnTo>
                  <a:pt x="765" y="342"/>
                </a:lnTo>
                <a:lnTo>
                  <a:pt x="801" y="322"/>
                </a:lnTo>
                <a:lnTo>
                  <a:pt x="836" y="304"/>
                </a:lnTo>
                <a:lnTo>
                  <a:pt x="869" y="287"/>
                </a:lnTo>
                <a:lnTo>
                  <a:pt x="901" y="272"/>
                </a:lnTo>
                <a:lnTo>
                  <a:pt x="931" y="257"/>
                </a:lnTo>
                <a:lnTo>
                  <a:pt x="958" y="244"/>
                </a:lnTo>
                <a:lnTo>
                  <a:pt x="981" y="232"/>
                </a:lnTo>
                <a:lnTo>
                  <a:pt x="1001" y="220"/>
                </a:lnTo>
                <a:lnTo>
                  <a:pt x="1016" y="210"/>
                </a:lnTo>
                <a:lnTo>
                  <a:pt x="1026" y="200"/>
                </a:lnTo>
                <a:lnTo>
                  <a:pt x="1029" y="192"/>
                </a:lnTo>
                <a:lnTo>
                  <a:pt x="1028" y="184"/>
                </a:lnTo>
                <a:lnTo>
                  <a:pt x="1019" y="176"/>
                </a:lnTo>
                <a:lnTo>
                  <a:pt x="1003" y="170"/>
                </a:lnTo>
                <a:lnTo>
                  <a:pt x="981" y="163"/>
                </a:lnTo>
                <a:lnTo>
                  <a:pt x="949" y="158"/>
                </a:lnTo>
                <a:lnTo>
                  <a:pt x="909" y="152"/>
                </a:lnTo>
                <a:lnTo>
                  <a:pt x="859" y="148"/>
                </a:lnTo>
                <a:lnTo>
                  <a:pt x="800" y="144"/>
                </a:lnTo>
                <a:lnTo>
                  <a:pt x="730" y="139"/>
                </a:lnTo>
              </a:path>
            </a:pathLst>
          </a:custGeom>
          <a:solidFill>
            <a:schemeClr val="accent1"/>
          </a:solidFill>
          <a:ln w="25400" cap="rnd" cmpd="sng">
            <a:noFill/>
            <a:prstDash val="solid"/>
            <a:round/>
            <a:headEnd/>
            <a:tailEnd/>
          </a:ln>
          <a:effectLst/>
        </p:spPr>
        <p:txBody>
          <a:bodyPr/>
          <a:lstStyle>
            <a:defPPr>
              <a:defRPr lang="es-CL"/>
            </a:defPPr>
            <a:lvl1pPr marL="0" algn="l" defTabSz="1440180" rtl="0" eaLnBrk="1" latinLnBrk="0" hangingPunct="1"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20090" algn="l" defTabSz="1440180" rtl="0" eaLnBrk="1" latinLnBrk="0" hangingPunct="1"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440180" algn="l" defTabSz="1440180" rtl="0" eaLnBrk="1" latinLnBrk="0" hangingPunct="1"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160270" algn="l" defTabSz="1440180" rtl="0" eaLnBrk="1" latinLnBrk="0" hangingPunct="1"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880360" algn="l" defTabSz="1440180" rtl="0" eaLnBrk="1" latinLnBrk="0" hangingPunct="1"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600450" algn="l" defTabSz="1440180" rtl="0" eaLnBrk="1" latinLnBrk="0" hangingPunct="1"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540" algn="l" defTabSz="1440180" rtl="0" eaLnBrk="1" latinLnBrk="0" hangingPunct="1"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040630" algn="l" defTabSz="1440180" rtl="0" eaLnBrk="1" latinLnBrk="0" hangingPunct="1"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760720" algn="l" defTabSz="1440180" rtl="0" eaLnBrk="1" latinLnBrk="0" hangingPunct="1"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s-ES" sz="1800"/>
          </a:p>
        </p:txBody>
      </p:sp>
      <p:sp>
        <p:nvSpPr>
          <p:cNvPr id="17" name="Text Box 1034">
            <a:extLst>
              <a:ext uri="{FF2B5EF4-FFF2-40B4-BE49-F238E27FC236}">
                <a16:creationId xmlns:a16="http://schemas.microsoft.com/office/drawing/2014/main" xmlns="" id="{A29CD67F-8B39-8E4B-989E-5E18D49C0D5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992847" y="959872"/>
            <a:ext cx="1935822" cy="523220"/>
          </a:xfrm>
          <a:prstGeom prst="rect">
            <a:avLst/>
          </a:prstGeom>
          <a:solidFill>
            <a:schemeClr val="tx2"/>
          </a:solidFill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wrap="square">
            <a:spAutoFit/>
          </a:bodyPr>
          <a:lstStyle>
            <a:defPPr>
              <a:defRPr lang="es-CL"/>
            </a:defPPr>
            <a:lvl1pPr marL="0" algn="l" defTabSz="1440180" rtl="0" eaLnBrk="1" latinLnBrk="0" hangingPunct="1"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20090" algn="l" defTabSz="1440180" rtl="0" eaLnBrk="1" latinLnBrk="0" hangingPunct="1"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440180" algn="l" defTabSz="1440180" rtl="0" eaLnBrk="1" latinLnBrk="0" hangingPunct="1"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160270" algn="l" defTabSz="1440180" rtl="0" eaLnBrk="1" latinLnBrk="0" hangingPunct="1"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880360" algn="l" defTabSz="1440180" rtl="0" eaLnBrk="1" latinLnBrk="0" hangingPunct="1"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600450" algn="l" defTabSz="1440180" rtl="0" eaLnBrk="1" latinLnBrk="0" hangingPunct="1"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540" algn="l" defTabSz="1440180" rtl="0" eaLnBrk="1" latinLnBrk="0" hangingPunct="1"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040630" algn="l" defTabSz="1440180" rtl="0" eaLnBrk="1" latinLnBrk="0" hangingPunct="1"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760720" algn="l" defTabSz="1440180" rtl="0" eaLnBrk="1" latinLnBrk="0" hangingPunct="1"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ClrTx/>
              <a:buSzTx/>
              <a:buFontTx/>
              <a:buNone/>
            </a:pPr>
            <a:r>
              <a:rPr lang="es-CL" sz="1400" dirty="0">
                <a:latin typeface="ACHS Nueva Sans Medium" pitchFamily="2" charset="77"/>
                <a:cs typeface="Catamaran Light" panose="00000400000000000000" pitchFamily="2" charset="0"/>
              </a:rPr>
              <a:t>Roedor infectado crónicamente</a:t>
            </a:r>
          </a:p>
        </p:txBody>
      </p:sp>
      <p:sp>
        <p:nvSpPr>
          <p:cNvPr id="18" name="Text Box 1035">
            <a:extLst>
              <a:ext uri="{FF2B5EF4-FFF2-40B4-BE49-F238E27FC236}">
                <a16:creationId xmlns:a16="http://schemas.microsoft.com/office/drawing/2014/main" xmlns="" id="{7F37E02E-0782-E640-9507-851A09F2B70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605187" y="5622765"/>
            <a:ext cx="2636391" cy="738664"/>
          </a:xfrm>
          <a:prstGeom prst="rect">
            <a:avLst/>
          </a:prstGeom>
          <a:solidFill>
            <a:schemeClr val="tx2"/>
          </a:solidFill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wrap="square">
            <a:spAutoFit/>
          </a:bodyPr>
          <a:lstStyle>
            <a:defPPr>
              <a:defRPr lang="es-CL"/>
            </a:defPPr>
            <a:lvl1pPr marL="0" algn="l" defTabSz="1440180" rtl="0" eaLnBrk="1" latinLnBrk="0" hangingPunct="1"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20090" algn="l" defTabSz="1440180" rtl="0" eaLnBrk="1" latinLnBrk="0" hangingPunct="1"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440180" algn="l" defTabSz="1440180" rtl="0" eaLnBrk="1" latinLnBrk="0" hangingPunct="1"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160270" algn="l" defTabSz="1440180" rtl="0" eaLnBrk="1" latinLnBrk="0" hangingPunct="1"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880360" algn="l" defTabSz="1440180" rtl="0" eaLnBrk="1" latinLnBrk="0" hangingPunct="1"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600450" algn="l" defTabSz="1440180" rtl="0" eaLnBrk="1" latinLnBrk="0" hangingPunct="1"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540" algn="l" defTabSz="1440180" rtl="0" eaLnBrk="1" latinLnBrk="0" hangingPunct="1"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040630" algn="l" defTabSz="1440180" rtl="0" eaLnBrk="1" latinLnBrk="0" hangingPunct="1"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760720" algn="l" defTabSz="1440180" rtl="0" eaLnBrk="1" latinLnBrk="0" hangingPunct="1"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ClrTx/>
              <a:buSzTx/>
              <a:buFontTx/>
              <a:buNone/>
            </a:pPr>
            <a:r>
              <a:rPr lang="es-CL" sz="1400" dirty="0">
                <a:latin typeface="ACHS Nueva Sans Medium" pitchFamily="2" charset="77"/>
                <a:cs typeface="Catamaran Light" panose="00000400000000000000" pitchFamily="2" charset="0"/>
              </a:rPr>
              <a:t>Virus está presente en excretas aerosolizadas, particularmente orina.</a:t>
            </a:r>
          </a:p>
        </p:txBody>
      </p:sp>
      <p:sp>
        <p:nvSpPr>
          <p:cNvPr id="19" name="Text Box 1036">
            <a:extLst>
              <a:ext uri="{FF2B5EF4-FFF2-40B4-BE49-F238E27FC236}">
                <a16:creationId xmlns:a16="http://schemas.microsoft.com/office/drawing/2014/main" xmlns="" id="{462412F8-4BCE-9345-B92A-D298D0448EB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262803" y="3038220"/>
            <a:ext cx="1622092" cy="523220"/>
          </a:xfrm>
          <a:prstGeom prst="rect">
            <a:avLst/>
          </a:prstGeom>
          <a:solidFill>
            <a:schemeClr val="tx2"/>
          </a:solidFill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wrap="square">
            <a:spAutoFit/>
          </a:bodyPr>
          <a:lstStyle>
            <a:defPPr>
              <a:defRPr lang="es-CL"/>
            </a:defPPr>
            <a:lvl1pPr marL="0" algn="l" defTabSz="1440180" rtl="0" eaLnBrk="1" latinLnBrk="0" hangingPunct="1"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20090" algn="l" defTabSz="1440180" rtl="0" eaLnBrk="1" latinLnBrk="0" hangingPunct="1"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440180" algn="l" defTabSz="1440180" rtl="0" eaLnBrk="1" latinLnBrk="0" hangingPunct="1"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160270" algn="l" defTabSz="1440180" rtl="0" eaLnBrk="1" latinLnBrk="0" hangingPunct="1"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880360" algn="l" defTabSz="1440180" rtl="0" eaLnBrk="1" latinLnBrk="0" hangingPunct="1"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600450" algn="l" defTabSz="1440180" rtl="0" eaLnBrk="1" latinLnBrk="0" hangingPunct="1"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540" algn="l" defTabSz="1440180" rtl="0" eaLnBrk="1" latinLnBrk="0" hangingPunct="1"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040630" algn="l" defTabSz="1440180" rtl="0" eaLnBrk="1" latinLnBrk="0" hangingPunct="1"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760720" algn="l" defTabSz="1440180" rtl="0" eaLnBrk="1" latinLnBrk="0" hangingPunct="1"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ClrTx/>
              <a:buSzTx/>
              <a:buFontTx/>
              <a:buNone/>
            </a:pPr>
            <a:r>
              <a:rPr lang="es-CL" sz="1400" dirty="0">
                <a:latin typeface="ACHS Nueva Sans Medium" pitchFamily="2" charset="77"/>
                <a:cs typeface="Catamaran Light" panose="00000400000000000000" pitchFamily="2" charset="0"/>
              </a:rPr>
              <a:t>Transmisión horizontal</a:t>
            </a:r>
          </a:p>
        </p:txBody>
      </p:sp>
      <p:sp>
        <p:nvSpPr>
          <p:cNvPr id="20" name="Text Box 1037">
            <a:extLst>
              <a:ext uri="{FF2B5EF4-FFF2-40B4-BE49-F238E27FC236}">
                <a16:creationId xmlns:a16="http://schemas.microsoft.com/office/drawing/2014/main" xmlns="" id="{546C5D12-1CE9-3147-A375-0FCE3E7CFDF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722326" y="4096403"/>
            <a:ext cx="2585070" cy="523220"/>
          </a:xfrm>
          <a:prstGeom prst="rect">
            <a:avLst/>
          </a:prstGeom>
          <a:solidFill>
            <a:schemeClr val="tx2"/>
          </a:solidFill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wrap="square">
            <a:spAutoFit/>
          </a:bodyPr>
          <a:lstStyle>
            <a:defPPr>
              <a:defRPr lang="es-CL"/>
            </a:defPPr>
            <a:lvl1pPr marL="0" algn="l" defTabSz="1440180" rtl="0" eaLnBrk="1" latinLnBrk="0" hangingPunct="1"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20090" algn="l" defTabSz="1440180" rtl="0" eaLnBrk="1" latinLnBrk="0" hangingPunct="1"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440180" algn="l" defTabSz="1440180" rtl="0" eaLnBrk="1" latinLnBrk="0" hangingPunct="1"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160270" algn="l" defTabSz="1440180" rtl="0" eaLnBrk="1" latinLnBrk="0" hangingPunct="1"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880360" algn="l" defTabSz="1440180" rtl="0" eaLnBrk="1" latinLnBrk="0" hangingPunct="1"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600450" algn="l" defTabSz="1440180" rtl="0" eaLnBrk="1" latinLnBrk="0" hangingPunct="1"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540" algn="l" defTabSz="1440180" rtl="0" eaLnBrk="1" latinLnBrk="0" hangingPunct="1"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040630" algn="l" defTabSz="1440180" rtl="0" eaLnBrk="1" latinLnBrk="0" hangingPunct="1"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760720" algn="l" defTabSz="1440180" rtl="0" eaLnBrk="1" latinLnBrk="0" hangingPunct="1"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ClrTx/>
              <a:buSzTx/>
              <a:buFontTx/>
              <a:buNone/>
            </a:pPr>
            <a:r>
              <a:rPr lang="es-CL" sz="1400" dirty="0">
                <a:latin typeface="ACHS Nueva Sans Medium" pitchFamily="2" charset="77"/>
                <a:cs typeface="Catamaran Light" panose="00000400000000000000" pitchFamily="2" charset="0"/>
              </a:rPr>
              <a:t>Virus también presente en saliva y fecas.</a:t>
            </a:r>
          </a:p>
        </p:txBody>
      </p:sp>
      <p:sp>
        <p:nvSpPr>
          <p:cNvPr id="10" name="Rectángulo 9">
            <a:extLst>
              <a:ext uri="{FF2B5EF4-FFF2-40B4-BE49-F238E27FC236}">
                <a16:creationId xmlns:a16="http://schemas.microsoft.com/office/drawing/2014/main" xmlns="" id="{69054302-BD3D-954A-ACEF-E7DDFF1F3A39}"/>
              </a:ext>
            </a:extLst>
          </p:cNvPr>
          <p:cNvSpPr/>
          <p:nvPr/>
        </p:nvSpPr>
        <p:spPr>
          <a:xfrm>
            <a:off x="2628511" y="1516162"/>
            <a:ext cx="6934977" cy="5081991"/>
          </a:xfrm>
          <a:prstGeom prst="rect">
            <a:avLst/>
          </a:prstGeom>
          <a:noFill/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s-CL"/>
            </a:defPPr>
            <a:lvl1pPr marL="0" algn="l" defTabSz="1440180" rtl="0" eaLnBrk="1" latinLnBrk="0" hangingPunct="1"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720090" algn="l" defTabSz="1440180" rtl="0" eaLnBrk="1" latinLnBrk="0" hangingPunct="1"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440180" algn="l" defTabSz="1440180" rtl="0" eaLnBrk="1" latinLnBrk="0" hangingPunct="1"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2160270" algn="l" defTabSz="1440180" rtl="0" eaLnBrk="1" latinLnBrk="0" hangingPunct="1"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880360" algn="l" defTabSz="1440180" rtl="0" eaLnBrk="1" latinLnBrk="0" hangingPunct="1"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600450" algn="l" defTabSz="1440180" rtl="0" eaLnBrk="1" latinLnBrk="0" hangingPunct="1"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4320540" algn="l" defTabSz="1440180" rtl="0" eaLnBrk="1" latinLnBrk="0" hangingPunct="1"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5040630" algn="l" defTabSz="1440180" rtl="0" eaLnBrk="1" latinLnBrk="0" hangingPunct="1"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5760720" algn="l" defTabSz="1440180" rtl="0" eaLnBrk="1" latinLnBrk="0" hangingPunct="1"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s-CL" sz="1800"/>
          </a:p>
        </p:txBody>
      </p:sp>
      <p:pic>
        <p:nvPicPr>
          <p:cNvPr id="2" name="Imagen 1">
            <a:extLst>
              <a:ext uri="{FF2B5EF4-FFF2-40B4-BE49-F238E27FC236}">
                <a16:creationId xmlns:a16="http://schemas.microsoft.com/office/drawing/2014/main" xmlns="" id="{610976AE-F1DB-BD4B-9335-50096D60578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471375" y="5381280"/>
            <a:ext cx="422491" cy="1049827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7407060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11">
            <a:extLst>
              <a:ext uri="{FF2B5EF4-FFF2-40B4-BE49-F238E27FC236}">
                <a16:creationId xmlns:a16="http://schemas.microsoft.com/office/drawing/2014/main" xmlns="" id="{8B8147D9-6C1A-C54D-BA01-71B865FA89C4}"/>
              </a:ext>
            </a:extLst>
          </p:cNvPr>
          <p:cNvSpPr txBox="1">
            <a:spLocks/>
          </p:cNvSpPr>
          <p:nvPr/>
        </p:nvSpPr>
        <p:spPr>
          <a:xfrm>
            <a:off x="436561" y="981125"/>
            <a:ext cx="9865812" cy="35628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16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04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609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219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CL" dirty="0">
                <a:latin typeface="ACHS Nueva Sans Medium" pitchFamily="2" charset="77"/>
              </a:rPr>
              <a:t>¿Quiénes están expuestos al hantavirus?</a:t>
            </a:r>
            <a:endParaRPr lang="x-none" dirty="0">
              <a:latin typeface="ACHS Nueva Sans Medium" pitchFamily="2" charset="77"/>
            </a:endParaRPr>
          </a:p>
        </p:txBody>
      </p:sp>
      <p:sp>
        <p:nvSpPr>
          <p:cNvPr id="12" name="Marcador de texto 5">
            <a:extLst>
              <a:ext uri="{FF2B5EF4-FFF2-40B4-BE49-F238E27FC236}">
                <a16:creationId xmlns:a16="http://schemas.microsoft.com/office/drawing/2014/main" xmlns="" id="{C34760D0-66D0-D646-9F53-0F3BDA5B2980}"/>
              </a:ext>
            </a:extLst>
          </p:cNvPr>
          <p:cNvSpPr txBox="1">
            <a:spLocks/>
          </p:cNvSpPr>
          <p:nvPr/>
        </p:nvSpPr>
        <p:spPr>
          <a:xfrm>
            <a:off x="449261" y="1538289"/>
            <a:ext cx="4391680" cy="3970206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1600" b="0" i="0" u="none" strike="noStrike" cap="none" spc="0" baseline="0">
                <a:solidFill>
                  <a:schemeClr val="accent1"/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1pPr>
            <a:lvl2pPr marL="3048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6096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9144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2192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lnSpc>
                <a:spcPct val="100000"/>
              </a:lnSpc>
              <a:spcBef>
                <a:spcPts val="1650"/>
              </a:spcBef>
              <a:buClr>
                <a:schemeClr val="accent1"/>
              </a:buClr>
            </a:pPr>
            <a:r>
              <a:rPr lang="es-ES" dirty="0">
                <a:solidFill>
                  <a:schemeClr val="accent3">
                    <a:lumMod val="75000"/>
                    <a:lumOff val="25000"/>
                  </a:schemeClr>
                </a:solidFill>
                <a:latin typeface="ACHS Nueva Sans Medium" pitchFamily="2" charset="77"/>
              </a:rPr>
              <a:t>El ratón infectado elimina el virus a través de la orina, las heces y la saliva, y se transmite al ser humano fundamentalmente a través de la vía respiratoria.</a:t>
            </a:r>
          </a:p>
          <a:p>
            <a:pPr>
              <a:lnSpc>
                <a:spcPct val="100000"/>
              </a:lnSpc>
              <a:spcBef>
                <a:spcPts val="1650"/>
              </a:spcBef>
              <a:buClr>
                <a:schemeClr val="accent1"/>
              </a:buClr>
            </a:pPr>
            <a:r>
              <a:rPr lang="es-ES" dirty="0">
                <a:solidFill>
                  <a:schemeClr val="accent3">
                    <a:lumMod val="75000"/>
                    <a:lumOff val="25000"/>
                  </a:schemeClr>
                </a:solidFill>
                <a:latin typeface="ACHS Nueva Sans Medium" pitchFamily="2" charset="77"/>
              </a:rPr>
              <a:t>La enfermedad se contagia por:</a:t>
            </a:r>
          </a:p>
          <a:p>
            <a:pPr marL="285750" indent="-285750">
              <a:lnSpc>
                <a:spcPct val="100000"/>
              </a:lnSpc>
              <a:spcBef>
                <a:spcPts val="165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dirty="0">
                <a:solidFill>
                  <a:schemeClr val="accent3">
                    <a:lumMod val="75000"/>
                    <a:lumOff val="25000"/>
                  </a:schemeClr>
                </a:solidFill>
                <a:latin typeface="ACHS Nueva Sans Medium" pitchFamily="2" charset="77"/>
              </a:rPr>
              <a:t>Respirar pequeñas gotas frescas o secas, o aire contaminado por saliva, orina o excrementos de un ratón infectado.  </a:t>
            </a:r>
          </a:p>
          <a:p>
            <a:pPr marL="285750" indent="-285750">
              <a:lnSpc>
                <a:spcPct val="100000"/>
              </a:lnSpc>
              <a:spcBef>
                <a:spcPts val="165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dirty="0">
                <a:solidFill>
                  <a:schemeClr val="accent3">
                    <a:lumMod val="75000"/>
                    <a:lumOff val="25000"/>
                  </a:schemeClr>
                </a:solidFill>
                <a:latin typeface="ACHS Nueva Sans Medium" pitchFamily="2" charset="77"/>
              </a:rPr>
              <a:t>Ingerir alimentos o agua contaminados con orina, heces o saliva de estos roedores.</a:t>
            </a:r>
          </a:p>
        </p:txBody>
      </p:sp>
      <p:sp>
        <p:nvSpPr>
          <p:cNvPr id="9" name="Marcador de texto 4">
            <a:extLst>
              <a:ext uri="{FF2B5EF4-FFF2-40B4-BE49-F238E27FC236}">
                <a16:creationId xmlns:a16="http://schemas.microsoft.com/office/drawing/2014/main" xmlns="" id="{869712B3-6FC2-8142-B70D-238096216E9C}"/>
              </a:ext>
            </a:extLst>
          </p:cNvPr>
          <p:cNvSpPr txBox="1">
            <a:spLocks/>
          </p:cNvSpPr>
          <p:nvPr/>
        </p:nvSpPr>
        <p:spPr>
          <a:xfrm>
            <a:off x="449262" y="496571"/>
            <a:ext cx="9865812" cy="52387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2000" b="0" kern="1200">
                <a:solidFill>
                  <a:schemeClr val="accent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04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609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219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CL" dirty="0">
                <a:latin typeface="ACHS Nueva Serif" pitchFamily="2" charset="77"/>
              </a:rPr>
              <a:t>¿Cómo se contagia?</a:t>
            </a:r>
          </a:p>
        </p:txBody>
      </p:sp>
      <p:pic>
        <p:nvPicPr>
          <p:cNvPr id="11" name="Imagen 10">
            <a:extLst>
              <a:ext uri="{FF2B5EF4-FFF2-40B4-BE49-F238E27FC236}">
                <a16:creationId xmlns:a16="http://schemas.microsoft.com/office/drawing/2014/main" xmlns="" id="{CDCE3D1C-A31B-1142-B383-B8150C2D9A3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553200" y="1709319"/>
            <a:ext cx="5221198" cy="5148681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175098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11">
            <a:extLst>
              <a:ext uri="{FF2B5EF4-FFF2-40B4-BE49-F238E27FC236}">
                <a16:creationId xmlns:a16="http://schemas.microsoft.com/office/drawing/2014/main" xmlns="" id="{8B8147D9-6C1A-C54D-BA01-71B865FA89C4}"/>
              </a:ext>
            </a:extLst>
          </p:cNvPr>
          <p:cNvSpPr txBox="1">
            <a:spLocks/>
          </p:cNvSpPr>
          <p:nvPr/>
        </p:nvSpPr>
        <p:spPr>
          <a:xfrm>
            <a:off x="436561" y="981125"/>
            <a:ext cx="9865812" cy="35628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16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04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609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219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CL" dirty="0">
                <a:latin typeface="ACHS Nueva Sans Medium" pitchFamily="2" charset="77"/>
              </a:rPr>
              <a:t>¿Quiénes están expuestos al hantavirus?</a:t>
            </a:r>
            <a:endParaRPr lang="x-none" dirty="0">
              <a:latin typeface="ACHS Nueva Sans Medium" pitchFamily="2" charset="77"/>
            </a:endParaRPr>
          </a:p>
        </p:txBody>
      </p:sp>
      <p:sp>
        <p:nvSpPr>
          <p:cNvPr id="12" name="Marcador de texto 5">
            <a:extLst>
              <a:ext uri="{FF2B5EF4-FFF2-40B4-BE49-F238E27FC236}">
                <a16:creationId xmlns:a16="http://schemas.microsoft.com/office/drawing/2014/main" xmlns="" id="{C34760D0-66D0-D646-9F53-0F3BDA5B2980}"/>
              </a:ext>
            </a:extLst>
          </p:cNvPr>
          <p:cNvSpPr txBox="1">
            <a:spLocks/>
          </p:cNvSpPr>
          <p:nvPr/>
        </p:nvSpPr>
        <p:spPr>
          <a:xfrm>
            <a:off x="449261" y="1538289"/>
            <a:ext cx="4391680" cy="3970206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1600" b="0" i="0" u="none" strike="noStrike" cap="none" spc="0" baseline="0">
                <a:solidFill>
                  <a:schemeClr val="accent1"/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1pPr>
            <a:lvl2pPr marL="3048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6096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9144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2192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285750" indent="-285750">
              <a:lnSpc>
                <a:spcPct val="100000"/>
              </a:lnSpc>
              <a:spcBef>
                <a:spcPts val="165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dirty="0">
                <a:solidFill>
                  <a:schemeClr val="accent3">
                    <a:lumMod val="75000"/>
                    <a:lumOff val="25000"/>
                  </a:schemeClr>
                </a:solidFill>
                <a:latin typeface="ACHS Nueva Sans Medium" pitchFamily="2" charset="77"/>
              </a:rPr>
              <a:t>Tener contacto directo con excrementos o secreciones de ratones infectados (Ejemplo, tocar ratones vivos o muertos, contacto directo con su orina, saliva o heces).</a:t>
            </a:r>
          </a:p>
          <a:p>
            <a:pPr marL="285750" indent="-285750">
              <a:lnSpc>
                <a:spcPct val="100000"/>
              </a:lnSpc>
              <a:spcBef>
                <a:spcPts val="165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dirty="0">
                <a:solidFill>
                  <a:schemeClr val="accent3">
                    <a:lumMod val="75000"/>
                    <a:lumOff val="25000"/>
                  </a:schemeClr>
                </a:solidFill>
                <a:latin typeface="ACHS Nueva Sans Medium" pitchFamily="2" charset="77"/>
              </a:rPr>
              <a:t>Tocar cualquier objeto donde haya sido depositado el virus y luego acercar la mano a la nariz, ojos o boca.</a:t>
            </a:r>
          </a:p>
          <a:p>
            <a:pPr marL="285750" indent="-285750">
              <a:lnSpc>
                <a:spcPct val="100000"/>
              </a:lnSpc>
              <a:spcBef>
                <a:spcPts val="165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dirty="0">
                <a:solidFill>
                  <a:schemeClr val="accent3">
                    <a:lumMod val="75000"/>
                    <a:lumOff val="25000"/>
                  </a:schemeClr>
                </a:solidFill>
                <a:latin typeface="ACHS Nueva Sans Medium" pitchFamily="2" charset="77"/>
              </a:rPr>
              <a:t>Ser mordido por un ratón infectado.</a:t>
            </a:r>
          </a:p>
          <a:p>
            <a:pPr marL="285750" indent="-285750">
              <a:lnSpc>
                <a:spcPct val="100000"/>
              </a:lnSpc>
              <a:spcBef>
                <a:spcPts val="165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dirty="0">
                <a:solidFill>
                  <a:schemeClr val="accent3">
                    <a:lumMod val="75000"/>
                    <a:lumOff val="25000"/>
                  </a:schemeClr>
                </a:solidFill>
                <a:latin typeface="ACHS Nueva Sans Medium" pitchFamily="2" charset="77"/>
              </a:rPr>
              <a:t>No existe evidencia de transmisión del virus por insectos, animales domésticos o ganado. </a:t>
            </a:r>
          </a:p>
        </p:txBody>
      </p:sp>
      <p:sp>
        <p:nvSpPr>
          <p:cNvPr id="9" name="Marcador de texto 4">
            <a:extLst>
              <a:ext uri="{FF2B5EF4-FFF2-40B4-BE49-F238E27FC236}">
                <a16:creationId xmlns:a16="http://schemas.microsoft.com/office/drawing/2014/main" xmlns="" id="{869712B3-6FC2-8142-B70D-238096216E9C}"/>
              </a:ext>
            </a:extLst>
          </p:cNvPr>
          <p:cNvSpPr txBox="1">
            <a:spLocks/>
          </p:cNvSpPr>
          <p:nvPr/>
        </p:nvSpPr>
        <p:spPr>
          <a:xfrm>
            <a:off x="449262" y="496571"/>
            <a:ext cx="9865812" cy="52387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2000" b="0" kern="1200">
                <a:solidFill>
                  <a:schemeClr val="accent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04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609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219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CL" dirty="0">
                <a:latin typeface="ACHS Nueva Serif" pitchFamily="2" charset="77"/>
              </a:rPr>
              <a:t>¿Cómo se contagia?</a:t>
            </a:r>
          </a:p>
        </p:txBody>
      </p:sp>
      <p:pic>
        <p:nvPicPr>
          <p:cNvPr id="11" name="Imagen 10">
            <a:extLst>
              <a:ext uri="{FF2B5EF4-FFF2-40B4-BE49-F238E27FC236}">
                <a16:creationId xmlns:a16="http://schemas.microsoft.com/office/drawing/2014/main" xmlns="" id="{E4081754-D863-7645-849D-7585353CD5C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471851" y="2035652"/>
            <a:ext cx="5245361" cy="482234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4223755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11">
            <a:extLst>
              <a:ext uri="{FF2B5EF4-FFF2-40B4-BE49-F238E27FC236}">
                <a16:creationId xmlns:a16="http://schemas.microsoft.com/office/drawing/2014/main" xmlns="" id="{8B8147D9-6C1A-C54D-BA01-71B865FA89C4}"/>
              </a:ext>
            </a:extLst>
          </p:cNvPr>
          <p:cNvSpPr txBox="1">
            <a:spLocks/>
          </p:cNvSpPr>
          <p:nvPr/>
        </p:nvSpPr>
        <p:spPr>
          <a:xfrm>
            <a:off x="436561" y="981125"/>
            <a:ext cx="9865812" cy="35628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16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04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609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219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CL" dirty="0">
                <a:latin typeface="ACHS Nueva Sans Medium" pitchFamily="2" charset="77"/>
              </a:rPr>
              <a:t>¿Quiénes están expuestos al hantavirus?</a:t>
            </a:r>
            <a:endParaRPr lang="x-none" dirty="0">
              <a:latin typeface="ACHS Nueva Sans Medium" pitchFamily="2" charset="77"/>
            </a:endParaRPr>
          </a:p>
        </p:txBody>
      </p:sp>
      <p:sp>
        <p:nvSpPr>
          <p:cNvPr id="12" name="Marcador de texto 5">
            <a:extLst>
              <a:ext uri="{FF2B5EF4-FFF2-40B4-BE49-F238E27FC236}">
                <a16:creationId xmlns:a16="http://schemas.microsoft.com/office/drawing/2014/main" xmlns="" id="{C34760D0-66D0-D646-9F53-0F3BDA5B2980}"/>
              </a:ext>
            </a:extLst>
          </p:cNvPr>
          <p:cNvSpPr txBox="1">
            <a:spLocks/>
          </p:cNvSpPr>
          <p:nvPr/>
        </p:nvSpPr>
        <p:spPr>
          <a:xfrm>
            <a:off x="449261" y="1538289"/>
            <a:ext cx="4391680" cy="3970206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1600" b="0" i="0" u="none" strike="noStrike" cap="none" spc="0" baseline="0">
                <a:solidFill>
                  <a:schemeClr val="accent1"/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1pPr>
            <a:lvl2pPr marL="3048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6096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9144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2192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285750" indent="-285750">
              <a:lnSpc>
                <a:spcPct val="100000"/>
              </a:lnSpc>
              <a:spcBef>
                <a:spcPts val="165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dirty="0">
                <a:solidFill>
                  <a:schemeClr val="accent3">
                    <a:lumMod val="75000"/>
                    <a:lumOff val="25000"/>
                  </a:schemeClr>
                </a:solidFill>
                <a:latin typeface="ACHS Nueva Sans Medium" pitchFamily="2" charset="77"/>
              </a:rPr>
              <a:t>La infección por vía respiratoria ocurre en lugares cerrados y con presencia reciente de ratones, por lo que la transmisión es poco frecuente en lugares abiertos, expuestos al viento y al sol.</a:t>
            </a:r>
          </a:p>
        </p:txBody>
      </p:sp>
      <p:sp>
        <p:nvSpPr>
          <p:cNvPr id="9" name="Marcador de texto 4">
            <a:extLst>
              <a:ext uri="{FF2B5EF4-FFF2-40B4-BE49-F238E27FC236}">
                <a16:creationId xmlns:a16="http://schemas.microsoft.com/office/drawing/2014/main" xmlns="" id="{869712B3-6FC2-8142-B70D-238096216E9C}"/>
              </a:ext>
            </a:extLst>
          </p:cNvPr>
          <p:cNvSpPr txBox="1">
            <a:spLocks/>
          </p:cNvSpPr>
          <p:nvPr/>
        </p:nvSpPr>
        <p:spPr>
          <a:xfrm>
            <a:off x="449262" y="496571"/>
            <a:ext cx="9865812" cy="52387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2000" b="0" kern="1200">
                <a:solidFill>
                  <a:schemeClr val="accent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04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609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219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CL" dirty="0">
                <a:latin typeface="ACHS Nueva Serif" pitchFamily="2" charset="77"/>
              </a:rPr>
              <a:t>¿Cómo se contagia?</a:t>
            </a:r>
          </a:p>
        </p:txBody>
      </p:sp>
      <p:pic>
        <p:nvPicPr>
          <p:cNvPr id="11" name="Imagen 10">
            <a:extLst>
              <a:ext uri="{FF2B5EF4-FFF2-40B4-BE49-F238E27FC236}">
                <a16:creationId xmlns:a16="http://schemas.microsoft.com/office/drawing/2014/main" xmlns="" id="{DE64332F-F472-2349-8DA6-ACEB01C4D1C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 flipH="1">
            <a:off x="6936512" y="1936377"/>
            <a:ext cx="4780700" cy="485539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8865576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11">
            <a:extLst>
              <a:ext uri="{FF2B5EF4-FFF2-40B4-BE49-F238E27FC236}">
                <a16:creationId xmlns:a16="http://schemas.microsoft.com/office/drawing/2014/main" xmlns="" id="{8B8147D9-6C1A-C54D-BA01-71B865FA89C4}"/>
              </a:ext>
            </a:extLst>
          </p:cNvPr>
          <p:cNvSpPr txBox="1">
            <a:spLocks/>
          </p:cNvSpPr>
          <p:nvPr/>
        </p:nvSpPr>
        <p:spPr>
          <a:xfrm>
            <a:off x="436561" y="981125"/>
            <a:ext cx="9865812" cy="35628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16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04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609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219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CL" dirty="0">
                <a:latin typeface="ACHS Nueva Sans Medium" pitchFamily="2" charset="77"/>
              </a:rPr>
              <a:t>¿Quiénes están expuestos al hantavirus?</a:t>
            </a:r>
            <a:endParaRPr lang="x-none" dirty="0">
              <a:latin typeface="ACHS Nueva Sans Medium" pitchFamily="2" charset="77"/>
            </a:endParaRPr>
          </a:p>
        </p:txBody>
      </p:sp>
      <p:sp>
        <p:nvSpPr>
          <p:cNvPr id="12" name="Marcador de texto 5">
            <a:extLst>
              <a:ext uri="{FF2B5EF4-FFF2-40B4-BE49-F238E27FC236}">
                <a16:creationId xmlns:a16="http://schemas.microsoft.com/office/drawing/2014/main" xmlns="" id="{C34760D0-66D0-D646-9F53-0F3BDA5B2980}"/>
              </a:ext>
            </a:extLst>
          </p:cNvPr>
          <p:cNvSpPr txBox="1">
            <a:spLocks/>
          </p:cNvSpPr>
          <p:nvPr/>
        </p:nvSpPr>
        <p:spPr>
          <a:xfrm>
            <a:off x="449261" y="1538289"/>
            <a:ext cx="4391680" cy="1077911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1600" b="0" i="0" u="none" strike="noStrike" cap="none" spc="0" baseline="0">
                <a:solidFill>
                  <a:schemeClr val="accent1"/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1pPr>
            <a:lvl2pPr marL="3048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6096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9144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2192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285750" indent="-285750">
              <a:lnSpc>
                <a:spcPct val="100000"/>
              </a:lnSpc>
              <a:spcBef>
                <a:spcPts val="165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dirty="0" err="1">
                <a:solidFill>
                  <a:schemeClr val="accent3">
                    <a:lumMod val="75000"/>
                    <a:lumOff val="25000"/>
                  </a:schemeClr>
                </a:solidFill>
                <a:latin typeface="ACHS Nueva Sans Medium" pitchFamily="2" charset="77"/>
              </a:rPr>
              <a:t>Oligoryzomys</a:t>
            </a:r>
            <a:r>
              <a:rPr lang="es-ES" dirty="0">
                <a:solidFill>
                  <a:schemeClr val="accent3">
                    <a:lumMod val="75000"/>
                    <a:lumOff val="25000"/>
                  </a:schemeClr>
                </a:solidFill>
                <a:latin typeface="ACHS Nueva Sans Medium" pitchFamily="2" charset="77"/>
              </a:rPr>
              <a:t> </a:t>
            </a:r>
            <a:r>
              <a:rPr lang="es-ES" dirty="0" err="1">
                <a:solidFill>
                  <a:schemeClr val="accent3">
                    <a:lumMod val="75000"/>
                    <a:lumOff val="25000"/>
                  </a:schemeClr>
                </a:solidFill>
                <a:latin typeface="ACHS Nueva Sans Medium" pitchFamily="2" charset="77"/>
              </a:rPr>
              <a:t>Longicaudatus</a:t>
            </a:r>
            <a:endParaRPr lang="es-ES" dirty="0">
              <a:solidFill>
                <a:schemeClr val="accent3">
                  <a:lumMod val="75000"/>
                  <a:lumOff val="25000"/>
                </a:schemeClr>
              </a:solidFill>
              <a:latin typeface="ACHS Nueva Sans Medium" pitchFamily="2" charset="77"/>
            </a:endParaRPr>
          </a:p>
          <a:p>
            <a:pPr marL="285750" indent="-285750">
              <a:lnSpc>
                <a:spcPct val="100000"/>
              </a:lnSpc>
              <a:spcBef>
                <a:spcPts val="165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dirty="0">
                <a:solidFill>
                  <a:schemeClr val="accent3">
                    <a:lumMod val="75000"/>
                    <a:lumOff val="25000"/>
                  </a:schemeClr>
                </a:solidFill>
                <a:latin typeface="ACHS Nueva Sans Medium" pitchFamily="2" charset="77"/>
              </a:rPr>
              <a:t>Ratón de cola larga: 8 centímetros de cuerpo y cola es más larga.</a:t>
            </a:r>
          </a:p>
        </p:txBody>
      </p:sp>
      <p:sp>
        <p:nvSpPr>
          <p:cNvPr id="9" name="Marcador de texto 4">
            <a:extLst>
              <a:ext uri="{FF2B5EF4-FFF2-40B4-BE49-F238E27FC236}">
                <a16:creationId xmlns:a16="http://schemas.microsoft.com/office/drawing/2014/main" xmlns="" id="{869712B3-6FC2-8142-B70D-238096216E9C}"/>
              </a:ext>
            </a:extLst>
          </p:cNvPr>
          <p:cNvSpPr txBox="1">
            <a:spLocks/>
          </p:cNvSpPr>
          <p:nvPr/>
        </p:nvSpPr>
        <p:spPr>
          <a:xfrm>
            <a:off x="449262" y="496571"/>
            <a:ext cx="9865812" cy="52387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2000" b="0" kern="1200">
                <a:solidFill>
                  <a:schemeClr val="accent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04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609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219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CL" dirty="0">
                <a:latin typeface="ACHS Nueva Serif" pitchFamily="2" charset="77"/>
              </a:rPr>
              <a:t>Vector del virus</a:t>
            </a:r>
          </a:p>
        </p:txBody>
      </p:sp>
      <p:pic>
        <p:nvPicPr>
          <p:cNvPr id="13" name="Imagen 12">
            <a:extLst>
              <a:ext uri="{FF2B5EF4-FFF2-40B4-BE49-F238E27FC236}">
                <a16:creationId xmlns:a16="http://schemas.microsoft.com/office/drawing/2014/main" xmlns="" id="{B37DD503-E0DD-8543-83D5-309C7BD5C976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21660"/>
          <a:stretch/>
        </p:blipFill>
        <p:spPr>
          <a:xfrm>
            <a:off x="4248150" y="3142622"/>
            <a:ext cx="7943850" cy="3715377"/>
          </a:xfrm>
          <a:prstGeom prst="rect">
            <a:avLst/>
          </a:prstGeom>
        </p:spPr>
      </p:pic>
      <p:sp>
        <p:nvSpPr>
          <p:cNvPr id="2" name="Rectángulo 1">
            <a:extLst>
              <a:ext uri="{FF2B5EF4-FFF2-40B4-BE49-F238E27FC236}">
                <a16:creationId xmlns:a16="http://schemas.microsoft.com/office/drawing/2014/main" xmlns="" id="{2A1C4FE7-2461-FC44-8F6C-CC4984E35625}"/>
              </a:ext>
            </a:extLst>
          </p:cNvPr>
          <p:cNvSpPr/>
          <p:nvPr/>
        </p:nvSpPr>
        <p:spPr>
          <a:xfrm>
            <a:off x="4248150" y="3142622"/>
            <a:ext cx="7943850" cy="3715378"/>
          </a:xfrm>
          <a:prstGeom prst="rect">
            <a:avLst/>
          </a:prstGeom>
          <a:solidFill>
            <a:schemeClr val="accent1">
              <a:alpha val="25723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8711162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Marcador de texto 4">
            <a:extLst>
              <a:ext uri="{FF2B5EF4-FFF2-40B4-BE49-F238E27FC236}">
                <a16:creationId xmlns:a16="http://schemas.microsoft.com/office/drawing/2014/main" xmlns="" id="{1CACD16F-3652-7549-BC2D-26C3F26B4713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/>
        <p:txBody>
          <a:bodyPr>
            <a:normAutofit/>
          </a:bodyPr>
          <a:lstStyle/>
          <a:p>
            <a:r>
              <a:rPr lang="es-CL" dirty="0">
                <a:latin typeface="ACHS Nueva Serif" pitchFamily="2" charset="77"/>
              </a:rPr>
              <a:t>Vector del virus</a:t>
            </a:r>
          </a:p>
        </p:txBody>
      </p:sp>
      <p:sp>
        <p:nvSpPr>
          <p:cNvPr id="6" name="Marcador de texto 5">
            <a:extLst>
              <a:ext uri="{FF2B5EF4-FFF2-40B4-BE49-F238E27FC236}">
                <a16:creationId xmlns:a16="http://schemas.microsoft.com/office/drawing/2014/main" xmlns="" id="{428234B7-C6B4-9F41-8A16-FE6C356217C0}"/>
              </a:ext>
            </a:extLst>
          </p:cNvPr>
          <p:cNvSpPr>
            <a:spLocks noGrp="1"/>
          </p:cNvSpPr>
          <p:nvPr>
            <p:ph type="body" sz="quarter" idx="62"/>
          </p:nvPr>
        </p:nvSpPr>
        <p:spPr/>
        <p:txBody>
          <a:bodyPr/>
          <a:lstStyle/>
          <a:p>
            <a:r>
              <a:rPr lang="es-CL" b="1" dirty="0">
                <a:solidFill>
                  <a:schemeClr val="accent1"/>
                </a:solidFill>
                <a:latin typeface="ACHS Nueva Sans Medium" pitchFamily="2" charset="77"/>
              </a:rPr>
              <a:t>Clínica: </a:t>
            </a:r>
          </a:p>
        </p:txBody>
      </p:sp>
      <p:sp>
        <p:nvSpPr>
          <p:cNvPr id="15" name="Marcador de texto 5">
            <a:extLst>
              <a:ext uri="{FF2B5EF4-FFF2-40B4-BE49-F238E27FC236}">
                <a16:creationId xmlns:a16="http://schemas.microsoft.com/office/drawing/2014/main" xmlns="" id="{63E0A03E-7397-064E-BCCE-D92AC4069E98}"/>
              </a:ext>
            </a:extLst>
          </p:cNvPr>
          <p:cNvSpPr txBox="1">
            <a:spLocks/>
          </p:cNvSpPr>
          <p:nvPr/>
        </p:nvSpPr>
        <p:spPr>
          <a:xfrm>
            <a:off x="449261" y="1539081"/>
            <a:ext cx="4154269" cy="4364414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1600" b="0" i="0" u="none" strike="noStrike" cap="none" spc="0" baseline="0">
                <a:solidFill>
                  <a:schemeClr val="accent1"/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1pPr>
            <a:lvl2pPr marL="3048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6096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9144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2192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285750" indent="-285750">
              <a:lnSpc>
                <a:spcPct val="100000"/>
              </a:lnSpc>
              <a:spcBef>
                <a:spcPts val="105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s-CL" sz="1600" dirty="0">
                <a:solidFill>
                  <a:schemeClr val="tx1"/>
                </a:solidFill>
                <a:latin typeface="ACHS Nueva Sans Medium" pitchFamily="2" charset="77"/>
              </a:rPr>
              <a:t>CIE 10: B33.4</a:t>
            </a:r>
          </a:p>
          <a:p>
            <a:pPr marL="285750" indent="-285750">
              <a:lnSpc>
                <a:spcPct val="100000"/>
              </a:lnSpc>
              <a:spcBef>
                <a:spcPts val="105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s-CL" sz="1600" dirty="0">
                <a:solidFill>
                  <a:schemeClr val="tx1"/>
                </a:solidFill>
                <a:latin typeface="ACHS Nueva Sans Medium" pitchFamily="2" charset="77"/>
              </a:rPr>
              <a:t>Período de incubación: 1 a 4 semanas.</a:t>
            </a:r>
          </a:p>
          <a:p>
            <a:pPr marL="285750" indent="-285750">
              <a:lnSpc>
                <a:spcPct val="100000"/>
              </a:lnSpc>
              <a:spcBef>
                <a:spcPts val="105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s-CL" sz="1600" dirty="0">
                <a:solidFill>
                  <a:schemeClr val="tx1"/>
                </a:solidFill>
                <a:latin typeface="ACHS Nueva Sans Medium" pitchFamily="2" charset="77"/>
              </a:rPr>
              <a:t>La enfermedad posee tres fases:</a:t>
            </a:r>
          </a:p>
          <a:p>
            <a:pPr marL="285750" indent="-285750">
              <a:lnSpc>
                <a:spcPct val="100000"/>
              </a:lnSpc>
              <a:spcBef>
                <a:spcPts val="105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s-CL" sz="1600" dirty="0">
                <a:solidFill>
                  <a:schemeClr val="tx1"/>
                </a:solidFill>
                <a:latin typeface="ACHS Nueva Sans Medium" pitchFamily="2" charset="77"/>
              </a:rPr>
              <a:t>Prodrómica : 1-6-15 días</a:t>
            </a:r>
          </a:p>
          <a:p>
            <a:pPr marL="285750" indent="-285750">
              <a:lnSpc>
                <a:spcPct val="100000"/>
              </a:lnSpc>
              <a:spcBef>
                <a:spcPts val="105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s-CL" sz="1600" dirty="0">
                <a:solidFill>
                  <a:schemeClr val="tx1"/>
                </a:solidFill>
                <a:latin typeface="ACHS Nueva Sans Medium" pitchFamily="2" charset="77"/>
              </a:rPr>
              <a:t>Cardiopulmonar</a:t>
            </a:r>
          </a:p>
          <a:p>
            <a:pPr marL="285750" indent="-285750">
              <a:lnSpc>
                <a:spcPct val="100000"/>
              </a:lnSpc>
              <a:spcBef>
                <a:spcPts val="105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s-CL" sz="1600" dirty="0">
                <a:solidFill>
                  <a:schemeClr val="tx1"/>
                </a:solidFill>
                <a:latin typeface="ACHS Nueva Sans Medium" pitchFamily="2" charset="77"/>
              </a:rPr>
              <a:t>Convalecencia: 30 días hasta 7 meses.</a:t>
            </a:r>
            <a:endParaRPr lang="es-CL" dirty="0">
              <a:solidFill>
                <a:schemeClr val="tx1"/>
              </a:solidFill>
              <a:latin typeface="ACHS Nueva Sans Medium" pitchFamily="2" charset="77"/>
            </a:endParaRPr>
          </a:p>
          <a:p>
            <a:pPr>
              <a:lnSpc>
                <a:spcPct val="100000"/>
              </a:lnSpc>
              <a:spcBef>
                <a:spcPts val="1050"/>
              </a:spcBef>
              <a:buClr>
                <a:schemeClr val="accent1"/>
              </a:buClr>
            </a:pPr>
            <a:endParaRPr lang="es-CL" sz="1600" b="1" kern="0" dirty="0"/>
          </a:p>
          <a:p>
            <a:pPr>
              <a:lnSpc>
                <a:spcPct val="100000"/>
              </a:lnSpc>
              <a:spcBef>
                <a:spcPts val="1050"/>
              </a:spcBef>
              <a:buClr>
                <a:schemeClr val="accent1"/>
              </a:buClr>
            </a:pPr>
            <a:r>
              <a:rPr lang="es-CL" sz="1600" b="1" kern="0" dirty="0"/>
              <a:t>Dos enfermedades principales: </a:t>
            </a:r>
          </a:p>
          <a:p>
            <a:pPr marL="285750" indent="-285750">
              <a:lnSpc>
                <a:spcPct val="100000"/>
              </a:lnSpc>
              <a:spcBef>
                <a:spcPts val="105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s-CL" sz="1600" dirty="0">
                <a:solidFill>
                  <a:schemeClr val="tx1"/>
                </a:solidFill>
                <a:latin typeface="ACHS Nueva Sans Medium" pitchFamily="2" charset="77"/>
              </a:rPr>
              <a:t>Síndrome cardiopulmonar por hantavirus (SCPH)</a:t>
            </a:r>
          </a:p>
          <a:p>
            <a:pPr marL="285750" indent="-285750">
              <a:lnSpc>
                <a:spcPct val="100000"/>
              </a:lnSpc>
              <a:spcBef>
                <a:spcPts val="105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s-CL" sz="1600" dirty="0">
                <a:solidFill>
                  <a:schemeClr val="tx1"/>
                </a:solidFill>
                <a:latin typeface="ACHS Nueva Sans Medium" pitchFamily="2" charset="77"/>
              </a:rPr>
              <a:t>Fiebre hemorrágica con síndrome renal (FHRS)</a:t>
            </a:r>
          </a:p>
          <a:p>
            <a:pPr>
              <a:lnSpc>
                <a:spcPct val="100000"/>
              </a:lnSpc>
              <a:spcBef>
                <a:spcPts val="1050"/>
              </a:spcBef>
              <a:buClr>
                <a:schemeClr val="accent1"/>
              </a:buClr>
            </a:pPr>
            <a:endParaRPr lang="es-CL" sz="1600" dirty="0">
              <a:solidFill>
                <a:schemeClr val="tx1"/>
              </a:solidFill>
              <a:latin typeface="ACHS Nueva Sans Medium" pitchFamily="2" charset="77"/>
            </a:endParaRPr>
          </a:p>
        </p:txBody>
      </p:sp>
      <p:pic>
        <p:nvPicPr>
          <p:cNvPr id="8" name="Imagen 7">
            <a:extLst>
              <a:ext uri="{FF2B5EF4-FFF2-40B4-BE49-F238E27FC236}">
                <a16:creationId xmlns:a16="http://schemas.microsoft.com/office/drawing/2014/main" xmlns="" id="{4FFA20F8-9078-7A4C-A791-F1D39B16ED5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596044" y="2161432"/>
            <a:ext cx="4696568" cy="469656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799885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Marcador de texto 4">
            <a:extLst>
              <a:ext uri="{FF2B5EF4-FFF2-40B4-BE49-F238E27FC236}">
                <a16:creationId xmlns:a16="http://schemas.microsoft.com/office/drawing/2014/main" xmlns="" id="{1CACD16F-3652-7549-BC2D-26C3F26B4713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/>
        <p:txBody>
          <a:bodyPr>
            <a:normAutofit/>
          </a:bodyPr>
          <a:lstStyle/>
          <a:p>
            <a:r>
              <a:rPr lang="es-CL" dirty="0">
                <a:latin typeface="ACHS Nueva Serif" pitchFamily="2" charset="77"/>
              </a:rPr>
              <a:t>Vector del virus</a:t>
            </a:r>
          </a:p>
        </p:txBody>
      </p:sp>
      <p:sp>
        <p:nvSpPr>
          <p:cNvPr id="6" name="Marcador de texto 5">
            <a:extLst>
              <a:ext uri="{FF2B5EF4-FFF2-40B4-BE49-F238E27FC236}">
                <a16:creationId xmlns:a16="http://schemas.microsoft.com/office/drawing/2014/main" xmlns="" id="{428234B7-C6B4-9F41-8A16-FE6C356217C0}"/>
              </a:ext>
            </a:extLst>
          </p:cNvPr>
          <p:cNvSpPr>
            <a:spLocks noGrp="1"/>
          </p:cNvSpPr>
          <p:nvPr>
            <p:ph type="body" sz="quarter" idx="62"/>
          </p:nvPr>
        </p:nvSpPr>
        <p:spPr/>
        <p:txBody>
          <a:bodyPr/>
          <a:lstStyle/>
          <a:p>
            <a:r>
              <a:rPr lang="es-CL" b="1" dirty="0">
                <a:solidFill>
                  <a:schemeClr val="accent1"/>
                </a:solidFill>
                <a:latin typeface="ACHS Nueva Sans Medium" pitchFamily="2" charset="77"/>
              </a:rPr>
              <a:t>Clínica: </a:t>
            </a:r>
          </a:p>
        </p:txBody>
      </p:sp>
      <p:sp>
        <p:nvSpPr>
          <p:cNvPr id="15" name="Marcador de texto 5">
            <a:extLst>
              <a:ext uri="{FF2B5EF4-FFF2-40B4-BE49-F238E27FC236}">
                <a16:creationId xmlns:a16="http://schemas.microsoft.com/office/drawing/2014/main" xmlns="" id="{63E0A03E-7397-064E-BCCE-D92AC4069E98}"/>
              </a:ext>
            </a:extLst>
          </p:cNvPr>
          <p:cNvSpPr txBox="1">
            <a:spLocks/>
          </p:cNvSpPr>
          <p:nvPr/>
        </p:nvSpPr>
        <p:spPr>
          <a:xfrm>
            <a:off x="449261" y="1539081"/>
            <a:ext cx="4154269" cy="4696568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1600" b="0" i="0" u="none" strike="noStrike" cap="none" spc="0" baseline="0">
                <a:solidFill>
                  <a:schemeClr val="accent1"/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1pPr>
            <a:lvl2pPr marL="3048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6096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9144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2192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lnSpc>
                <a:spcPct val="100000"/>
              </a:lnSpc>
              <a:spcBef>
                <a:spcPts val="950"/>
              </a:spcBef>
              <a:buClr>
                <a:schemeClr val="accent1"/>
              </a:buClr>
            </a:pPr>
            <a:r>
              <a:rPr lang="es-CL" sz="1600" b="1" dirty="0">
                <a:latin typeface="ACHS Nueva Sans Medium" pitchFamily="2" charset="77"/>
              </a:rPr>
              <a:t>Fase prodómica  y sus síntomas:</a:t>
            </a:r>
          </a:p>
          <a:p>
            <a:pPr marL="285750" indent="-285750">
              <a:lnSpc>
                <a:spcPct val="100000"/>
              </a:lnSpc>
              <a:spcBef>
                <a:spcPts val="95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s-CL" sz="1600" dirty="0">
                <a:solidFill>
                  <a:schemeClr val="tx1"/>
                </a:solidFill>
                <a:latin typeface="ACHS Nueva Sans Medium" pitchFamily="2" charset="77"/>
              </a:rPr>
              <a:t>Cansancio</a:t>
            </a:r>
          </a:p>
          <a:p>
            <a:pPr marL="285750" indent="-285750">
              <a:lnSpc>
                <a:spcPct val="100000"/>
              </a:lnSpc>
              <a:spcBef>
                <a:spcPts val="95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s-CL" sz="1600" dirty="0">
                <a:solidFill>
                  <a:schemeClr val="tx1"/>
                </a:solidFill>
                <a:latin typeface="ACHS Nueva Sans Medium" pitchFamily="2" charset="77"/>
              </a:rPr>
              <a:t>Fiebre</a:t>
            </a:r>
          </a:p>
          <a:p>
            <a:pPr marL="285750" indent="-285750">
              <a:lnSpc>
                <a:spcPct val="100000"/>
              </a:lnSpc>
              <a:spcBef>
                <a:spcPts val="95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s-CL" sz="1600" dirty="0">
                <a:solidFill>
                  <a:schemeClr val="tx1"/>
                </a:solidFill>
                <a:latin typeface="ACHS Nueva Sans Medium" pitchFamily="2" charset="77"/>
              </a:rPr>
              <a:t>Dolores musculares</a:t>
            </a:r>
          </a:p>
          <a:p>
            <a:pPr marL="285750" indent="-285750">
              <a:lnSpc>
                <a:spcPct val="100000"/>
              </a:lnSpc>
              <a:spcBef>
                <a:spcPts val="95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s-CL" sz="1600" dirty="0">
                <a:solidFill>
                  <a:schemeClr val="tx1"/>
                </a:solidFill>
                <a:latin typeface="ACHS Nueva Sans Medium" pitchFamily="2" charset="77"/>
              </a:rPr>
              <a:t>Cefalea</a:t>
            </a:r>
          </a:p>
          <a:p>
            <a:pPr marL="285750" indent="-285750">
              <a:lnSpc>
                <a:spcPct val="100000"/>
              </a:lnSpc>
              <a:spcBef>
                <a:spcPts val="95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s-CL" sz="1600" dirty="0">
                <a:solidFill>
                  <a:schemeClr val="tx1"/>
                </a:solidFill>
                <a:latin typeface="ACHS Nueva Sans Medium" pitchFamily="2" charset="77"/>
              </a:rPr>
              <a:t>Mareos</a:t>
            </a:r>
          </a:p>
          <a:p>
            <a:pPr marL="285750" indent="-285750">
              <a:lnSpc>
                <a:spcPct val="100000"/>
              </a:lnSpc>
              <a:spcBef>
                <a:spcPts val="95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s-CL" sz="1600" dirty="0">
                <a:solidFill>
                  <a:schemeClr val="tx1"/>
                </a:solidFill>
                <a:latin typeface="ACHS Nueva Sans Medium" pitchFamily="2" charset="77"/>
              </a:rPr>
              <a:t>Escalofríos</a:t>
            </a:r>
          </a:p>
          <a:p>
            <a:pPr marL="285750" indent="-285750">
              <a:lnSpc>
                <a:spcPct val="100000"/>
              </a:lnSpc>
              <a:spcBef>
                <a:spcPts val="95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s-CL" sz="1600" dirty="0">
                <a:solidFill>
                  <a:schemeClr val="tx1"/>
                </a:solidFill>
                <a:latin typeface="ACHS Nueva Sans Medium" pitchFamily="2" charset="77"/>
              </a:rPr>
              <a:t>Dolor abdominal</a:t>
            </a:r>
          </a:p>
          <a:p>
            <a:pPr marL="285750" indent="-285750">
              <a:lnSpc>
                <a:spcPct val="100000"/>
              </a:lnSpc>
              <a:spcBef>
                <a:spcPts val="950"/>
              </a:spcBef>
              <a:buClr>
                <a:schemeClr val="accent1"/>
              </a:buClr>
              <a:buFont typeface="Wingdings" pitchFamily="2" charset="2"/>
              <a:buChar char="§"/>
            </a:pPr>
            <a:endParaRPr lang="es-CL" sz="1600" b="1" kern="0" dirty="0"/>
          </a:p>
          <a:p>
            <a:pPr>
              <a:lnSpc>
                <a:spcPct val="100000"/>
              </a:lnSpc>
              <a:spcBef>
                <a:spcPts val="950"/>
              </a:spcBef>
              <a:buClr>
                <a:schemeClr val="accent1"/>
              </a:buClr>
            </a:pPr>
            <a:r>
              <a:rPr lang="es-CL" sz="1600" b="1" kern="0" dirty="0"/>
              <a:t>Fase cardiopulmonar y sus síntomas:</a:t>
            </a:r>
            <a:endParaRPr lang="es-CL" sz="1600" dirty="0">
              <a:solidFill>
                <a:schemeClr val="tx1"/>
              </a:solidFill>
              <a:latin typeface="ACHS Nueva Sans Medium" pitchFamily="2" charset="77"/>
            </a:endParaRPr>
          </a:p>
          <a:p>
            <a:pPr marL="285750" indent="-285750">
              <a:lnSpc>
                <a:spcPct val="100000"/>
              </a:lnSpc>
              <a:spcBef>
                <a:spcPts val="95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s-CL" sz="1600" dirty="0" smtClean="0">
                <a:solidFill>
                  <a:schemeClr val="tx1"/>
                </a:solidFill>
                <a:latin typeface="ACHS Nueva Sans Medium" pitchFamily="2" charset="77"/>
              </a:rPr>
              <a:t>Dificultad </a:t>
            </a:r>
            <a:r>
              <a:rPr lang="es-CL" sz="1600" dirty="0">
                <a:solidFill>
                  <a:schemeClr val="tx1"/>
                </a:solidFill>
                <a:latin typeface="ACHS Nueva Sans Medium" pitchFamily="2" charset="77"/>
              </a:rPr>
              <a:t>para respirar</a:t>
            </a:r>
          </a:p>
          <a:p>
            <a:pPr marL="285750" indent="-285750">
              <a:lnSpc>
                <a:spcPct val="100000"/>
              </a:lnSpc>
              <a:spcBef>
                <a:spcPts val="95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s-CL" sz="1600" dirty="0">
                <a:solidFill>
                  <a:schemeClr val="tx1"/>
                </a:solidFill>
                <a:latin typeface="ACHS Nueva Sans Medium" pitchFamily="2" charset="77"/>
              </a:rPr>
              <a:t>Hipertensión arterial</a:t>
            </a:r>
          </a:p>
        </p:txBody>
      </p:sp>
      <p:pic>
        <p:nvPicPr>
          <p:cNvPr id="8" name="Imagen 7">
            <a:extLst>
              <a:ext uri="{FF2B5EF4-FFF2-40B4-BE49-F238E27FC236}">
                <a16:creationId xmlns:a16="http://schemas.microsoft.com/office/drawing/2014/main" xmlns="" id="{4FFA20F8-9078-7A4C-A791-F1D39B16ED5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596044" y="2161432"/>
            <a:ext cx="4696568" cy="469656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5922218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Marcador de texto 5">
            <a:extLst>
              <a:ext uri="{FF2B5EF4-FFF2-40B4-BE49-F238E27FC236}">
                <a16:creationId xmlns:a16="http://schemas.microsoft.com/office/drawing/2014/main" xmlns="" id="{428234B7-C6B4-9F41-8A16-FE6C356217C0}"/>
              </a:ext>
            </a:extLst>
          </p:cNvPr>
          <p:cNvSpPr>
            <a:spLocks noGrp="1"/>
          </p:cNvSpPr>
          <p:nvPr>
            <p:ph type="body" sz="quarter" idx="62"/>
          </p:nvPr>
        </p:nvSpPr>
        <p:spPr>
          <a:xfrm>
            <a:off x="449262" y="952196"/>
            <a:ext cx="9865812" cy="356282"/>
          </a:xfrm>
        </p:spPr>
        <p:txBody>
          <a:bodyPr/>
          <a:lstStyle/>
          <a:p>
            <a:r>
              <a:rPr lang="es-CL" dirty="0">
                <a:solidFill>
                  <a:schemeClr val="tx1"/>
                </a:solidFill>
                <a:latin typeface="ACHS Nueva Sans Medium" pitchFamily="2" charset="77"/>
              </a:rPr>
              <a:t>Clínica: </a:t>
            </a:r>
          </a:p>
        </p:txBody>
      </p:sp>
      <p:sp>
        <p:nvSpPr>
          <p:cNvPr id="9" name="Marcador de texto 4">
            <a:extLst>
              <a:ext uri="{FF2B5EF4-FFF2-40B4-BE49-F238E27FC236}">
                <a16:creationId xmlns:a16="http://schemas.microsoft.com/office/drawing/2014/main" xmlns="" id="{6E2E6577-28F1-FD4C-B857-1CCC81515DA4}"/>
              </a:ext>
            </a:extLst>
          </p:cNvPr>
          <p:cNvSpPr txBox="1">
            <a:spLocks/>
          </p:cNvSpPr>
          <p:nvPr/>
        </p:nvSpPr>
        <p:spPr>
          <a:xfrm>
            <a:off x="449262" y="496571"/>
            <a:ext cx="9865812" cy="52387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2000" b="0" kern="1200">
                <a:solidFill>
                  <a:schemeClr val="accent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04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609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219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CL" dirty="0">
                <a:latin typeface="ACHS Nueva Serif" pitchFamily="2" charset="77"/>
              </a:rPr>
              <a:t>Vector del virus </a:t>
            </a:r>
          </a:p>
        </p:txBody>
      </p:sp>
      <p:pic>
        <p:nvPicPr>
          <p:cNvPr id="10" name="Picture 5">
            <a:extLst>
              <a:ext uri="{FF2B5EF4-FFF2-40B4-BE49-F238E27FC236}">
                <a16:creationId xmlns:a16="http://schemas.microsoft.com/office/drawing/2014/main" xmlns="" id="{9A3A1479-6AE0-E640-87DB-73709B03A8E7}"/>
              </a:ext>
            </a:extLst>
          </p:cNvPr>
          <p:cNvPicPr preferRelativeResize="0">
            <a:picLocks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491643" y="1184621"/>
            <a:ext cx="3082324" cy="2350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1" name="5 Rectángulo">
            <a:extLst>
              <a:ext uri="{FF2B5EF4-FFF2-40B4-BE49-F238E27FC236}">
                <a16:creationId xmlns:a16="http://schemas.microsoft.com/office/drawing/2014/main" xmlns="" id="{F603EE68-8981-8944-B2B1-1C7C069F92F7}"/>
              </a:ext>
            </a:extLst>
          </p:cNvPr>
          <p:cNvSpPr/>
          <p:nvPr/>
        </p:nvSpPr>
        <p:spPr>
          <a:xfrm>
            <a:off x="2491643" y="3744802"/>
            <a:ext cx="3082324" cy="266069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wrap="square" lIns="144000" tIns="144000" rIns="144000" bIns="144000">
            <a:spAutoFit/>
          </a:bodyPr>
          <a:lstStyle>
            <a:defPPr>
              <a:defRPr lang="es-CL"/>
            </a:defPPr>
            <a:lvl1pPr marL="0" algn="l" defTabSz="1440180" rtl="0" eaLnBrk="1" latinLnBrk="0" hangingPunct="1"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20090" algn="l" defTabSz="1440180" rtl="0" eaLnBrk="1" latinLnBrk="0" hangingPunct="1"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440180" algn="l" defTabSz="1440180" rtl="0" eaLnBrk="1" latinLnBrk="0" hangingPunct="1"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160270" algn="l" defTabSz="1440180" rtl="0" eaLnBrk="1" latinLnBrk="0" hangingPunct="1"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880360" algn="l" defTabSz="1440180" rtl="0" eaLnBrk="1" latinLnBrk="0" hangingPunct="1"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600450" algn="l" defTabSz="1440180" rtl="0" eaLnBrk="1" latinLnBrk="0" hangingPunct="1"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540" algn="l" defTabSz="1440180" rtl="0" eaLnBrk="1" latinLnBrk="0" hangingPunct="1"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040630" algn="l" defTabSz="1440180" rtl="0" eaLnBrk="1" latinLnBrk="0" hangingPunct="1"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760720" algn="l" defTabSz="1440180" rtl="0" eaLnBrk="1" latinLnBrk="0" hangingPunct="1"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Wingdings" pitchFamily="2" charset="2"/>
              <a:buChar char="§"/>
            </a:pPr>
            <a:r>
              <a:rPr lang="es-CL" sz="1400" dirty="0">
                <a:solidFill>
                  <a:schemeClr val="bg1"/>
                </a:solidFill>
                <a:latin typeface="ACHS Nueva Sans Medium" pitchFamily="2" charset="77"/>
                <a:ea typeface="Verdana" pitchFamily="34" charset="0"/>
                <a:cs typeface="Calibri" panose="020F0502020204030204" pitchFamily="34" charset="0"/>
              </a:rPr>
              <a:t>Inmunoblastos en hemograma de paciente en fase prodrómica de SCPH. </a:t>
            </a:r>
          </a:p>
          <a:p>
            <a:pPr marL="285750" indent="-285750">
              <a:buFont typeface="Wingdings" pitchFamily="2" charset="2"/>
              <a:buChar char="§"/>
            </a:pPr>
            <a:endParaRPr lang="es-CL" sz="1400" dirty="0">
              <a:solidFill>
                <a:schemeClr val="bg1"/>
              </a:solidFill>
              <a:latin typeface="ACHS Nueva Sans Medium" pitchFamily="2" charset="77"/>
              <a:ea typeface="Verdana" pitchFamily="34" charset="0"/>
              <a:cs typeface="Calibri" panose="020F0502020204030204" pitchFamily="34" charset="0"/>
            </a:endParaRPr>
          </a:p>
          <a:p>
            <a:pPr marL="285750" indent="-285750">
              <a:buFont typeface="Wingdings" pitchFamily="2" charset="2"/>
              <a:buChar char="§"/>
            </a:pPr>
            <a:r>
              <a:rPr lang="es-CL" sz="1400" dirty="0">
                <a:solidFill>
                  <a:schemeClr val="bg1"/>
                </a:solidFill>
                <a:latin typeface="ACHS Nueva Sans Medium" pitchFamily="2" charset="77"/>
                <a:ea typeface="Verdana" pitchFamily="34" charset="0"/>
                <a:cs typeface="Calibri" panose="020F0502020204030204" pitchFamily="34" charset="0"/>
              </a:rPr>
              <a:t>Es un linfocito  atípico, con elevada relación núcleo/citoplasma, nucléolo prominente, citoplasma hiperbasófilo moderado y gránulos citoplasmáticos gruesos.</a:t>
            </a:r>
          </a:p>
        </p:txBody>
      </p:sp>
      <p:pic>
        <p:nvPicPr>
          <p:cNvPr id="12" name="Picture 7">
            <a:extLst>
              <a:ext uri="{FF2B5EF4-FFF2-40B4-BE49-F238E27FC236}">
                <a16:creationId xmlns:a16="http://schemas.microsoft.com/office/drawing/2014/main" xmlns="" id="{80304D39-169A-7D4D-BEF7-6B338110174A}"/>
              </a:ext>
            </a:extLst>
          </p:cNvPr>
          <p:cNvPicPr preferRelativeResize="0">
            <a:picLocks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618033" y="1184621"/>
            <a:ext cx="3082324" cy="2350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3" name="7 CuadroTexto">
            <a:extLst>
              <a:ext uri="{FF2B5EF4-FFF2-40B4-BE49-F238E27FC236}">
                <a16:creationId xmlns:a16="http://schemas.microsoft.com/office/drawing/2014/main" xmlns="" id="{35489285-6C88-334C-95E4-A159EAAB8812}"/>
              </a:ext>
            </a:extLst>
          </p:cNvPr>
          <p:cNvSpPr txBox="1"/>
          <p:nvPr/>
        </p:nvSpPr>
        <p:spPr>
          <a:xfrm>
            <a:off x="6618033" y="3744541"/>
            <a:ext cx="3082324" cy="266069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wrap="square" lIns="144000" tIns="144000" rIns="144000" bIns="144000" rtlCol="0">
            <a:spAutoFit/>
          </a:bodyPr>
          <a:lstStyle>
            <a:defPPr>
              <a:defRPr lang="es-CL"/>
            </a:defPPr>
            <a:lvl1pPr marL="0" algn="l" defTabSz="1440180" rtl="0" eaLnBrk="1" latinLnBrk="0" hangingPunct="1"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20090" algn="l" defTabSz="1440180" rtl="0" eaLnBrk="1" latinLnBrk="0" hangingPunct="1"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440180" algn="l" defTabSz="1440180" rtl="0" eaLnBrk="1" latinLnBrk="0" hangingPunct="1"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160270" algn="l" defTabSz="1440180" rtl="0" eaLnBrk="1" latinLnBrk="0" hangingPunct="1"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880360" algn="l" defTabSz="1440180" rtl="0" eaLnBrk="1" latinLnBrk="0" hangingPunct="1"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600450" algn="l" defTabSz="1440180" rtl="0" eaLnBrk="1" latinLnBrk="0" hangingPunct="1"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540" algn="l" defTabSz="1440180" rtl="0" eaLnBrk="1" latinLnBrk="0" hangingPunct="1"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040630" algn="l" defTabSz="1440180" rtl="0" eaLnBrk="1" latinLnBrk="0" hangingPunct="1"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760720" algn="l" defTabSz="1440180" rtl="0" eaLnBrk="1" latinLnBrk="0" hangingPunct="1"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Wingdings" pitchFamily="2" charset="2"/>
              <a:buChar char="§"/>
            </a:pPr>
            <a:r>
              <a:rPr lang="es-ES" sz="1400" dirty="0">
                <a:solidFill>
                  <a:schemeClr val="bg1"/>
                </a:solidFill>
                <a:latin typeface="ACHS Nueva Sans Medium" pitchFamily="2" charset="77"/>
                <a:ea typeface="Verdana" pitchFamily="34" charset="0"/>
                <a:cs typeface="Calibri" panose="020F0502020204030204" pitchFamily="34" charset="0"/>
              </a:rPr>
              <a:t>Compromiso intersticial bilateral en fase prodrómica del SCPH</a:t>
            </a:r>
            <a:r>
              <a:rPr lang="es-ES" sz="1400" dirty="0">
                <a:solidFill>
                  <a:schemeClr val="bg1"/>
                </a:solidFill>
                <a:latin typeface="ACHS Nueva Sans Medium" pitchFamily="2" charset="77"/>
                <a:cs typeface="Calibri" panose="020F0502020204030204" pitchFamily="34" charset="0"/>
              </a:rPr>
              <a:t>. </a:t>
            </a:r>
          </a:p>
          <a:p>
            <a:pPr marL="285750" indent="-285750">
              <a:buFont typeface="Wingdings" pitchFamily="2" charset="2"/>
              <a:buChar char="§"/>
            </a:pPr>
            <a:endParaRPr lang="es-ES" sz="1400" dirty="0">
              <a:solidFill>
                <a:schemeClr val="bg1"/>
              </a:solidFill>
              <a:latin typeface="ACHS Nueva Sans Medium" pitchFamily="2" charset="77"/>
              <a:cs typeface="Calibri" panose="020F0502020204030204" pitchFamily="34" charset="0"/>
            </a:endParaRPr>
          </a:p>
          <a:p>
            <a:pPr marL="285750" indent="-285750">
              <a:buFont typeface="Wingdings" pitchFamily="2" charset="2"/>
              <a:buChar char="§"/>
            </a:pPr>
            <a:endParaRPr lang="es-ES" sz="1400" dirty="0">
              <a:solidFill>
                <a:schemeClr val="bg1"/>
              </a:solidFill>
              <a:latin typeface="ACHS Nueva Sans Medium" pitchFamily="2" charset="77"/>
              <a:cs typeface="Calibri" panose="020F0502020204030204" pitchFamily="34" charset="0"/>
            </a:endParaRPr>
          </a:p>
          <a:p>
            <a:pPr marL="285750" indent="-285750">
              <a:buFont typeface="Wingdings" pitchFamily="2" charset="2"/>
              <a:buChar char="§"/>
            </a:pPr>
            <a:endParaRPr lang="es-ES" sz="1400" dirty="0">
              <a:solidFill>
                <a:schemeClr val="bg1"/>
              </a:solidFill>
              <a:latin typeface="ACHS Nueva Sans Medium" pitchFamily="2" charset="77"/>
              <a:cs typeface="Calibri" panose="020F0502020204030204" pitchFamily="34" charset="0"/>
            </a:endParaRPr>
          </a:p>
          <a:p>
            <a:pPr marL="285750" indent="-285750">
              <a:buFont typeface="Wingdings" pitchFamily="2" charset="2"/>
              <a:buChar char="§"/>
            </a:pPr>
            <a:endParaRPr lang="es-ES" sz="1400" dirty="0">
              <a:solidFill>
                <a:schemeClr val="bg1"/>
              </a:solidFill>
              <a:latin typeface="ACHS Nueva Sans Medium" pitchFamily="2" charset="77"/>
              <a:cs typeface="Calibri" panose="020F0502020204030204" pitchFamily="34" charset="0"/>
            </a:endParaRPr>
          </a:p>
          <a:p>
            <a:pPr marL="285750" indent="-285750">
              <a:buFont typeface="Wingdings" pitchFamily="2" charset="2"/>
              <a:buChar char="§"/>
            </a:pPr>
            <a:endParaRPr lang="es-CL" sz="1400" dirty="0">
              <a:solidFill>
                <a:schemeClr val="bg1"/>
              </a:solidFill>
              <a:latin typeface="ACHS Nueva Sans Medium" pitchFamily="2" charset="77"/>
              <a:cs typeface="Calibri" panose="020F0502020204030204" pitchFamily="34" charset="0"/>
            </a:endParaRPr>
          </a:p>
          <a:p>
            <a:pPr marL="285750" indent="-285750">
              <a:buFont typeface="Wingdings" pitchFamily="2" charset="2"/>
              <a:buChar char="§"/>
            </a:pPr>
            <a:endParaRPr lang="es-ES" sz="1400" dirty="0">
              <a:solidFill>
                <a:schemeClr val="bg1"/>
              </a:solidFill>
              <a:latin typeface="ACHS Nueva Sans Medium" pitchFamily="2" charset="77"/>
              <a:cs typeface="Calibri" panose="020F0502020204030204" pitchFamily="34" charset="0"/>
            </a:endParaRPr>
          </a:p>
          <a:p>
            <a:pPr marL="285750" indent="-285750">
              <a:buFont typeface="Wingdings" pitchFamily="2" charset="2"/>
              <a:buChar char="§"/>
            </a:pPr>
            <a:endParaRPr lang="es-ES" sz="1400" dirty="0">
              <a:solidFill>
                <a:schemeClr val="bg1"/>
              </a:solidFill>
              <a:latin typeface="ACHS Nueva Sans Medium" pitchFamily="2" charset="77"/>
              <a:cs typeface="Calibri" panose="020F0502020204030204" pitchFamily="34" charset="0"/>
            </a:endParaRPr>
          </a:p>
          <a:p>
            <a:pPr marL="285750" indent="-285750">
              <a:buFont typeface="Wingdings" pitchFamily="2" charset="2"/>
              <a:buChar char="§"/>
            </a:pPr>
            <a:endParaRPr lang="es-ES" sz="1400" dirty="0">
              <a:solidFill>
                <a:schemeClr val="bg1"/>
              </a:solidFill>
              <a:latin typeface="ACHS Nueva Sans Medium" pitchFamily="2" charset="77"/>
              <a:cs typeface="Calibri" panose="020F0502020204030204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7412782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Marcador de texto 4">
            <a:extLst>
              <a:ext uri="{FF2B5EF4-FFF2-40B4-BE49-F238E27FC236}">
                <a16:creationId xmlns:a16="http://schemas.microsoft.com/office/drawing/2014/main" xmlns="" id="{6E2E6577-28F1-FD4C-B857-1CCC81515DA4}"/>
              </a:ext>
            </a:extLst>
          </p:cNvPr>
          <p:cNvSpPr txBox="1">
            <a:spLocks/>
          </p:cNvSpPr>
          <p:nvPr/>
        </p:nvSpPr>
        <p:spPr>
          <a:xfrm>
            <a:off x="449262" y="496571"/>
            <a:ext cx="9865812" cy="52387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2000" b="0" kern="1200">
                <a:solidFill>
                  <a:schemeClr val="accent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04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609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219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CL" dirty="0">
                <a:latin typeface="ACHS Nueva Serif" pitchFamily="2" charset="77"/>
              </a:rPr>
              <a:t>Algoritmo frente a síntomas</a:t>
            </a:r>
          </a:p>
        </p:txBody>
      </p:sp>
      <p:sp>
        <p:nvSpPr>
          <p:cNvPr id="40" name="Flecha abajo 39">
            <a:extLst>
              <a:ext uri="{FF2B5EF4-FFF2-40B4-BE49-F238E27FC236}">
                <a16:creationId xmlns:a16="http://schemas.microsoft.com/office/drawing/2014/main" xmlns="" id="{6FC0735A-F83F-7F46-BAAD-0DC285576F00}"/>
              </a:ext>
            </a:extLst>
          </p:cNvPr>
          <p:cNvSpPr/>
          <p:nvPr/>
        </p:nvSpPr>
        <p:spPr>
          <a:xfrm>
            <a:off x="1990822" y="2709423"/>
            <a:ext cx="476130" cy="1126080"/>
          </a:xfrm>
          <a:prstGeom prst="downArrow">
            <a:avLst/>
          </a:prstGeom>
          <a:solidFill>
            <a:schemeClr val="tx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s-CL" sz="32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41" name="Flecha abajo 40">
            <a:extLst>
              <a:ext uri="{FF2B5EF4-FFF2-40B4-BE49-F238E27FC236}">
                <a16:creationId xmlns:a16="http://schemas.microsoft.com/office/drawing/2014/main" xmlns="" id="{0431E829-9EB5-9C49-BC1A-25F69241A1B6}"/>
              </a:ext>
            </a:extLst>
          </p:cNvPr>
          <p:cNvSpPr/>
          <p:nvPr/>
        </p:nvSpPr>
        <p:spPr>
          <a:xfrm rot="18835501">
            <a:off x="3761229" y="4761679"/>
            <a:ext cx="476129" cy="1126080"/>
          </a:xfrm>
          <a:prstGeom prst="downArrow">
            <a:avLst/>
          </a:prstGeom>
          <a:solidFill>
            <a:schemeClr val="tx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s-CL" sz="32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42" name="Flecha abajo 41">
            <a:extLst>
              <a:ext uri="{FF2B5EF4-FFF2-40B4-BE49-F238E27FC236}">
                <a16:creationId xmlns:a16="http://schemas.microsoft.com/office/drawing/2014/main" xmlns="" id="{F5E85804-5384-8E48-B1EE-5B0C41EE5C78}"/>
              </a:ext>
            </a:extLst>
          </p:cNvPr>
          <p:cNvSpPr/>
          <p:nvPr/>
        </p:nvSpPr>
        <p:spPr>
          <a:xfrm rot="2792948">
            <a:off x="6967521" y="4627721"/>
            <a:ext cx="476129" cy="1126080"/>
          </a:xfrm>
          <a:prstGeom prst="downArrow">
            <a:avLst/>
          </a:prstGeom>
          <a:solidFill>
            <a:schemeClr val="tx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s-CL" sz="32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43" name="Flecha abajo 42">
            <a:extLst>
              <a:ext uri="{FF2B5EF4-FFF2-40B4-BE49-F238E27FC236}">
                <a16:creationId xmlns:a16="http://schemas.microsoft.com/office/drawing/2014/main" xmlns="" id="{D5D188F4-0072-F24B-8F6C-17D79DB599DC}"/>
              </a:ext>
            </a:extLst>
          </p:cNvPr>
          <p:cNvSpPr/>
          <p:nvPr/>
        </p:nvSpPr>
        <p:spPr>
          <a:xfrm>
            <a:off x="5363477" y="4972736"/>
            <a:ext cx="476130" cy="1126080"/>
          </a:xfrm>
          <a:prstGeom prst="downArrow">
            <a:avLst/>
          </a:prstGeom>
          <a:solidFill>
            <a:schemeClr val="tx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s-CL" sz="32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44" name="Flecha abajo 43">
            <a:extLst>
              <a:ext uri="{FF2B5EF4-FFF2-40B4-BE49-F238E27FC236}">
                <a16:creationId xmlns:a16="http://schemas.microsoft.com/office/drawing/2014/main" xmlns="" id="{2A1A8B55-C0CA-4D44-82F8-89431F6CCE48}"/>
              </a:ext>
            </a:extLst>
          </p:cNvPr>
          <p:cNvSpPr/>
          <p:nvPr/>
        </p:nvSpPr>
        <p:spPr>
          <a:xfrm>
            <a:off x="8408140" y="2743957"/>
            <a:ext cx="476130" cy="1126080"/>
          </a:xfrm>
          <a:prstGeom prst="downArrow">
            <a:avLst/>
          </a:prstGeom>
          <a:solidFill>
            <a:schemeClr val="tx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s-CL" sz="32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52" name="Elipse 51">
            <a:extLst>
              <a:ext uri="{FF2B5EF4-FFF2-40B4-BE49-F238E27FC236}">
                <a16:creationId xmlns:a16="http://schemas.microsoft.com/office/drawing/2014/main" xmlns="" id="{C15735FA-C9FE-0845-87E1-E2F0CC424595}"/>
              </a:ext>
            </a:extLst>
          </p:cNvPr>
          <p:cNvSpPr/>
          <p:nvPr/>
        </p:nvSpPr>
        <p:spPr>
          <a:xfrm>
            <a:off x="1012550" y="2703055"/>
            <a:ext cx="2416065" cy="740646"/>
          </a:xfrm>
          <a:prstGeom prst="ellipse">
            <a:avLst/>
          </a:prstGeom>
          <a:solidFill>
            <a:schemeClr val="bg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s-CL" sz="32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53" name="Elipse 52">
            <a:extLst>
              <a:ext uri="{FF2B5EF4-FFF2-40B4-BE49-F238E27FC236}">
                <a16:creationId xmlns:a16="http://schemas.microsoft.com/office/drawing/2014/main" xmlns="" id="{65124E59-F6FE-E641-BA2E-56F2C7A679BC}"/>
              </a:ext>
            </a:extLst>
          </p:cNvPr>
          <p:cNvSpPr/>
          <p:nvPr/>
        </p:nvSpPr>
        <p:spPr>
          <a:xfrm>
            <a:off x="7438173" y="2569349"/>
            <a:ext cx="2416065" cy="740646"/>
          </a:xfrm>
          <a:prstGeom prst="ellipse">
            <a:avLst/>
          </a:prstGeom>
          <a:solidFill>
            <a:schemeClr val="bg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s-CL" sz="32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60" name="Flecha abajo 59">
            <a:extLst>
              <a:ext uri="{FF2B5EF4-FFF2-40B4-BE49-F238E27FC236}">
                <a16:creationId xmlns:a16="http://schemas.microsoft.com/office/drawing/2014/main" xmlns="" id="{D7914F02-E14B-8E49-AFE9-B2BD98A633F6}"/>
              </a:ext>
            </a:extLst>
          </p:cNvPr>
          <p:cNvSpPr/>
          <p:nvPr/>
        </p:nvSpPr>
        <p:spPr>
          <a:xfrm rot="2792948">
            <a:off x="4084737" y="1863389"/>
            <a:ext cx="476129" cy="1126080"/>
          </a:xfrm>
          <a:prstGeom prst="downArrow">
            <a:avLst/>
          </a:prstGeom>
          <a:solidFill>
            <a:schemeClr val="tx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s-CL" sz="32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61" name="Flecha abajo 60">
            <a:extLst>
              <a:ext uri="{FF2B5EF4-FFF2-40B4-BE49-F238E27FC236}">
                <a16:creationId xmlns:a16="http://schemas.microsoft.com/office/drawing/2014/main" xmlns="" id="{CFEE682D-445F-6B48-98A2-8BCC405AB647}"/>
              </a:ext>
            </a:extLst>
          </p:cNvPr>
          <p:cNvSpPr/>
          <p:nvPr/>
        </p:nvSpPr>
        <p:spPr>
          <a:xfrm rot="18835501">
            <a:off x="6451477" y="1857428"/>
            <a:ext cx="476129" cy="1126080"/>
          </a:xfrm>
          <a:prstGeom prst="downArrow">
            <a:avLst/>
          </a:prstGeom>
          <a:solidFill>
            <a:schemeClr val="tx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s-CL" sz="32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64" name="Flecha a la derecha con bandas 63">
            <a:extLst>
              <a:ext uri="{FF2B5EF4-FFF2-40B4-BE49-F238E27FC236}">
                <a16:creationId xmlns:a16="http://schemas.microsoft.com/office/drawing/2014/main" xmlns="" id="{43ABBCA9-D2A8-A048-A787-70A18A9EE0BB}"/>
              </a:ext>
            </a:extLst>
          </p:cNvPr>
          <p:cNvSpPr/>
          <p:nvPr/>
        </p:nvSpPr>
        <p:spPr>
          <a:xfrm>
            <a:off x="7100023" y="5623113"/>
            <a:ext cx="1590839" cy="687743"/>
          </a:xfrm>
          <a:prstGeom prst="stripedRightArrow">
            <a:avLst/>
          </a:prstGeom>
          <a:solidFill>
            <a:schemeClr val="accent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s-CL" sz="32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pic>
        <p:nvPicPr>
          <p:cNvPr id="68" name="Imagen 67">
            <a:extLst>
              <a:ext uri="{FF2B5EF4-FFF2-40B4-BE49-F238E27FC236}">
                <a16:creationId xmlns:a16="http://schemas.microsoft.com/office/drawing/2014/main" xmlns="" id="{0DEF225B-4B0A-7541-91CC-11F6F9D2798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986782" y="823798"/>
            <a:ext cx="1132081" cy="1132081"/>
          </a:xfrm>
          <a:prstGeom prst="rect">
            <a:avLst/>
          </a:prstGeom>
        </p:spPr>
      </p:pic>
      <p:grpSp>
        <p:nvGrpSpPr>
          <p:cNvPr id="88" name="Grupo 87">
            <a:extLst>
              <a:ext uri="{FF2B5EF4-FFF2-40B4-BE49-F238E27FC236}">
                <a16:creationId xmlns:a16="http://schemas.microsoft.com/office/drawing/2014/main" xmlns="" id="{785FF7A3-2966-1147-9A6F-3519CA3F0358}"/>
              </a:ext>
            </a:extLst>
          </p:cNvPr>
          <p:cNvGrpSpPr/>
          <p:nvPr/>
        </p:nvGrpSpPr>
        <p:grpSpPr>
          <a:xfrm>
            <a:off x="991178" y="1326490"/>
            <a:ext cx="2645164" cy="927050"/>
            <a:chOff x="1165046" y="1221673"/>
            <a:chExt cx="2645164" cy="927050"/>
          </a:xfrm>
        </p:grpSpPr>
        <p:sp>
          <p:nvSpPr>
            <p:cNvPr id="71" name="Rectángulo 70">
              <a:extLst>
                <a:ext uri="{FF2B5EF4-FFF2-40B4-BE49-F238E27FC236}">
                  <a16:creationId xmlns:a16="http://schemas.microsoft.com/office/drawing/2014/main" xmlns="" id="{B86B7325-3EE2-7047-A80E-12ED494D8686}"/>
                </a:ext>
              </a:extLst>
            </p:cNvPr>
            <p:cNvSpPr/>
            <p:nvPr/>
          </p:nvSpPr>
          <p:spPr>
            <a:xfrm>
              <a:off x="1165046" y="1221673"/>
              <a:ext cx="2645164" cy="92705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 dirty="0">
                <a:solidFill>
                  <a:schemeClr val="bg2"/>
                </a:solidFill>
              </a:endParaRPr>
            </a:p>
          </p:txBody>
        </p:sp>
        <p:sp>
          <p:nvSpPr>
            <p:cNvPr id="69" name="Marcador de texto 5">
              <a:extLst>
                <a:ext uri="{FF2B5EF4-FFF2-40B4-BE49-F238E27FC236}">
                  <a16:creationId xmlns:a16="http://schemas.microsoft.com/office/drawing/2014/main" xmlns="" id="{A5562AF0-F81D-0847-8070-34E84664E8B6}"/>
                </a:ext>
              </a:extLst>
            </p:cNvPr>
            <p:cNvSpPr txBox="1">
              <a:spLocks/>
            </p:cNvSpPr>
            <p:nvPr/>
          </p:nvSpPr>
          <p:spPr>
            <a:xfrm>
              <a:off x="1324655" y="1329326"/>
              <a:ext cx="2261235" cy="662002"/>
            </a:xfrm>
            <a:prstGeom prst="rect">
              <a:avLst/>
            </a:prstGeom>
          </p:spPr>
          <p:txBody>
            <a:bodyPr lIns="0" tIns="0" rIns="0" bIns="0"/>
            <a:lstStyle>
              <a:lvl1pPr marL="0" marR="0" indent="0" algn="l" defTabSz="1218406" eaLnBrk="1" latinLnBrk="0" hangingPunct="1">
                <a:lnSpc>
                  <a:spcPct val="90000"/>
                </a:lnSpc>
                <a:spcBef>
                  <a:spcPts val="2250"/>
                </a:spcBef>
                <a:spcAft>
                  <a:spcPts val="0"/>
                </a:spcAft>
                <a:buClrTx/>
                <a:buSzPct val="123000"/>
                <a:buFontTx/>
                <a:buNone/>
                <a:tabLst/>
                <a:defRPr sz="1600" b="0" i="0" u="none" strike="noStrike" cap="none" spc="0" baseline="0">
                  <a:solidFill>
                    <a:schemeClr val="accent1"/>
                  </a:solidFill>
                  <a:uFillTx/>
                  <a:latin typeface="Arial" panose="020B0604020202020204" pitchFamily="34" charset="0"/>
                  <a:ea typeface="Arial"/>
                  <a:cs typeface="Arial" panose="020B0604020202020204" pitchFamily="34" charset="0"/>
                  <a:sym typeface="Arial"/>
                </a:defRPr>
              </a:lvl1pPr>
              <a:lvl2pPr marL="304800" marR="0" indent="0" algn="l" defTabSz="1218406" eaLnBrk="1" latinLnBrk="0" hangingPunct="1">
                <a:lnSpc>
                  <a:spcPct val="90000"/>
                </a:lnSpc>
                <a:spcBef>
                  <a:spcPts val="2250"/>
                </a:spcBef>
                <a:spcAft>
                  <a:spcPts val="0"/>
                </a:spcAft>
                <a:buClrTx/>
                <a:buSzPct val="123000"/>
                <a:buFontTx/>
                <a:buNone/>
                <a:tabLst/>
                <a:defRPr sz="2400" b="0" i="0" u="none" strike="noStrike" cap="none" spc="0" baseline="0"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2pPr>
              <a:lvl3pPr marL="609600" marR="0" indent="0" algn="l" defTabSz="1218406" eaLnBrk="1" latinLnBrk="0" hangingPunct="1">
                <a:lnSpc>
                  <a:spcPct val="90000"/>
                </a:lnSpc>
                <a:spcBef>
                  <a:spcPts val="2250"/>
                </a:spcBef>
                <a:spcAft>
                  <a:spcPts val="0"/>
                </a:spcAft>
                <a:buClrTx/>
                <a:buSzPct val="123000"/>
                <a:buFontTx/>
                <a:buNone/>
                <a:tabLst/>
                <a:defRPr sz="2400" b="0" i="0" u="none" strike="noStrike" cap="none" spc="0" baseline="0"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3pPr>
              <a:lvl4pPr marL="914400" marR="0" indent="0" algn="l" defTabSz="1218406" eaLnBrk="1" latinLnBrk="0" hangingPunct="1">
                <a:lnSpc>
                  <a:spcPct val="90000"/>
                </a:lnSpc>
                <a:spcBef>
                  <a:spcPts val="2250"/>
                </a:spcBef>
                <a:spcAft>
                  <a:spcPts val="0"/>
                </a:spcAft>
                <a:buClrTx/>
                <a:buSzPct val="123000"/>
                <a:buFontTx/>
                <a:buNone/>
                <a:tabLst/>
                <a:defRPr sz="2400" b="0" i="0" u="none" strike="noStrike" cap="none" spc="0" baseline="0"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4pPr>
              <a:lvl5pPr marL="1219200" marR="0" indent="0" algn="l" defTabSz="1218406" eaLnBrk="1" latinLnBrk="0" hangingPunct="1">
                <a:lnSpc>
                  <a:spcPct val="90000"/>
                </a:lnSpc>
                <a:spcBef>
                  <a:spcPts val="2250"/>
                </a:spcBef>
                <a:spcAft>
                  <a:spcPts val="0"/>
                </a:spcAft>
                <a:buClrTx/>
                <a:buSzPct val="123000"/>
                <a:buFontTx/>
                <a:buNone/>
                <a:tabLst/>
                <a:defRPr sz="2400" b="0" i="0" u="none" strike="noStrike" cap="none" spc="0" baseline="0"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5pPr>
              <a:lvl6pPr marL="2260600" marR="0" indent="-812800" algn="l" defTabSz="1218406" eaLnBrk="1" latinLnBrk="0" hangingPunct="1">
                <a:lnSpc>
                  <a:spcPct val="90000"/>
                </a:lnSpc>
                <a:spcBef>
                  <a:spcPts val="2250"/>
                </a:spcBef>
                <a:spcAft>
                  <a:spcPts val="0"/>
                </a:spcAft>
                <a:buClrTx/>
                <a:buSzPct val="123000"/>
                <a:buFontTx/>
                <a:buChar char=""/>
                <a:tabLst/>
                <a:defRPr sz="2400" b="0" i="0" u="none" strike="noStrike" cap="none" spc="0" baseline="0"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6pPr>
              <a:lvl7pPr marL="2489200" marR="0" indent="-812800" algn="l" defTabSz="1218406" eaLnBrk="1" latinLnBrk="0" hangingPunct="1">
                <a:lnSpc>
                  <a:spcPct val="90000"/>
                </a:lnSpc>
                <a:spcBef>
                  <a:spcPts val="2250"/>
                </a:spcBef>
                <a:spcAft>
                  <a:spcPts val="0"/>
                </a:spcAft>
                <a:buClrTx/>
                <a:buSzPct val="123000"/>
                <a:buFontTx/>
                <a:buChar char=""/>
                <a:tabLst/>
                <a:defRPr sz="2400" b="0" i="0" u="none" strike="noStrike" cap="none" spc="0" baseline="0"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7pPr>
              <a:lvl8pPr marL="2717800" marR="0" indent="-812800" algn="l" defTabSz="1218406" eaLnBrk="1" latinLnBrk="0" hangingPunct="1">
                <a:lnSpc>
                  <a:spcPct val="90000"/>
                </a:lnSpc>
                <a:spcBef>
                  <a:spcPts val="2250"/>
                </a:spcBef>
                <a:spcAft>
                  <a:spcPts val="0"/>
                </a:spcAft>
                <a:buClrTx/>
                <a:buSzPct val="123000"/>
                <a:buFontTx/>
                <a:buChar char=""/>
                <a:tabLst/>
                <a:defRPr sz="2400" b="0" i="0" u="none" strike="noStrike" cap="none" spc="0" baseline="0"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8pPr>
              <a:lvl9pPr marL="2946400" marR="0" indent="-812800" algn="l" defTabSz="1218406" eaLnBrk="1" latinLnBrk="0" hangingPunct="1">
                <a:lnSpc>
                  <a:spcPct val="90000"/>
                </a:lnSpc>
                <a:spcBef>
                  <a:spcPts val="2250"/>
                </a:spcBef>
                <a:spcAft>
                  <a:spcPts val="0"/>
                </a:spcAft>
                <a:buClrTx/>
                <a:buSzPct val="123000"/>
                <a:buFontTx/>
                <a:buChar char=""/>
                <a:tabLst/>
                <a:defRPr sz="2400" b="0" i="0" u="none" strike="noStrike" cap="none" spc="0" baseline="0"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>
                <a:lnSpc>
                  <a:spcPct val="100000"/>
                </a:lnSpc>
                <a:spcBef>
                  <a:spcPts val="1650"/>
                </a:spcBef>
                <a:buClr>
                  <a:schemeClr val="accent1"/>
                </a:buClr>
              </a:pPr>
              <a:r>
                <a:rPr lang="es-ES" sz="1200" dirty="0">
                  <a:solidFill>
                    <a:schemeClr val="bg2"/>
                  </a:solidFill>
                  <a:latin typeface="ACHS Nueva Sans Medium" pitchFamily="2" charset="77"/>
                </a:rPr>
                <a:t>Fiebre, dolor muscular, cefalea con o sin síntomas gastrointestinales.</a:t>
              </a:r>
            </a:p>
          </p:txBody>
        </p:sp>
      </p:grpSp>
      <p:sp>
        <p:nvSpPr>
          <p:cNvPr id="72" name="Marcador de texto 5">
            <a:extLst>
              <a:ext uri="{FF2B5EF4-FFF2-40B4-BE49-F238E27FC236}">
                <a16:creationId xmlns:a16="http://schemas.microsoft.com/office/drawing/2014/main" xmlns="" id="{D0054917-03FD-C04D-BBA0-6B2DEBF1BCE8}"/>
              </a:ext>
            </a:extLst>
          </p:cNvPr>
          <p:cNvSpPr txBox="1">
            <a:spLocks/>
          </p:cNvSpPr>
          <p:nvPr/>
        </p:nvSpPr>
        <p:spPr>
          <a:xfrm>
            <a:off x="10083337" y="5190760"/>
            <a:ext cx="1590839" cy="1120096"/>
          </a:xfrm>
          <a:prstGeom prst="rect">
            <a:avLst/>
          </a:prstGeom>
          <a:solidFill>
            <a:schemeClr val="accent1"/>
          </a:solidFill>
        </p:spPr>
        <p:txBody>
          <a:bodyPr lIns="108000" tIns="108000" rIns="108000" bIns="108000"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1600" b="0" i="0" u="none" strike="noStrike" cap="none" spc="0" baseline="0">
                <a:solidFill>
                  <a:schemeClr val="accent1"/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1pPr>
            <a:lvl2pPr marL="3048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6096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9144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2192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lnSpc>
                <a:spcPct val="100000"/>
              </a:lnSpc>
              <a:spcBef>
                <a:spcPts val="1650"/>
              </a:spcBef>
              <a:buClr>
                <a:schemeClr val="accent1"/>
              </a:buClr>
            </a:pPr>
            <a:r>
              <a:rPr lang="es-ES" b="1" dirty="0">
                <a:solidFill>
                  <a:schemeClr val="accent2"/>
                </a:solidFill>
                <a:latin typeface="ACHS Nueva Sans Medium" pitchFamily="2" charset="77"/>
              </a:rPr>
              <a:t>Notificación inmediata al SEREMI de Salud.</a:t>
            </a:r>
          </a:p>
        </p:txBody>
      </p:sp>
      <p:grpSp>
        <p:nvGrpSpPr>
          <p:cNvPr id="87" name="Grupo 86">
            <a:extLst>
              <a:ext uri="{FF2B5EF4-FFF2-40B4-BE49-F238E27FC236}">
                <a16:creationId xmlns:a16="http://schemas.microsoft.com/office/drawing/2014/main" xmlns="" id="{B1574F91-D795-E444-9AAE-2FE8DB353940}"/>
              </a:ext>
            </a:extLst>
          </p:cNvPr>
          <p:cNvGrpSpPr/>
          <p:nvPr/>
        </p:nvGrpSpPr>
        <p:grpSpPr>
          <a:xfrm>
            <a:off x="7438173" y="1088211"/>
            <a:ext cx="2645164" cy="927050"/>
            <a:chOff x="7438173" y="1074902"/>
            <a:chExt cx="2645164" cy="927050"/>
          </a:xfrm>
        </p:grpSpPr>
        <p:sp>
          <p:nvSpPr>
            <p:cNvPr id="73" name="Rectángulo 72">
              <a:extLst>
                <a:ext uri="{FF2B5EF4-FFF2-40B4-BE49-F238E27FC236}">
                  <a16:creationId xmlns:a16="http://schemas.microsoft.com/office/drawing/2014/main" xmlns="" id="{D5927217-5FD3-6F43-965F-490B1A4487EE}"/>
                </a:ext>
              </a:extLst>
            </p:cNvPr>
            <p:cNvSpPr/>
            <p:nvPr/>
          </p:nvSpPr>
          <p:spPr>
            <a:xfrm>
              <a:off x="7438173" y="1074902"/>
              <a:ext cx="2645164" cy="92705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 dirty="0">
                <a:solidFill>
                  <a:schemeClr val="bg2"/>
                </a:solidFill>
              </a:endParaRPr>
            </a:p>
          </p:txBody>
        </p:sp>
        <p:sp>
          <p:nvSpPr>
            <p:cNvPr id="70" name="Marcador de texto 5">
              <a:extLst>
                <a:ext uri="{FF2B5EF4-FFF2-40B4-BE49-F238E27FC236}">
                  <a16:creationId xmlns:a16="http://schemas.microsoft.com/office/drawing/2014/main" xmlns="" id="{303A97FD-3E51-9A40-BB85-1EACB061F443}"/>
                </a:ext>
              </a:extLst>
            </p:cNvPr>
            <p:cNvSpPr txBox="1">
              <a:spLocks/>
            </p:cNvSpPr>
            <p:nvPr/>
          </p:nvSpPr>
          <p:spPr>
            <a:xfrm>
              <a:off x="7636533" y="1228444"/>
              <a:ext cx="2241707" cy="618872"/>
            </a:xfrm>
            <a:prstGeom prst="rect">
              <a:avLst/>
            </a:prstGeom>
          </p:spPr>
          <p:txBody>
            <a:bodyPr lIns="0" tIns="0" rIns="0" bIns="0"/>
            <a:lstStyle>
              <a:lvl1pPr marL="0" marR="0" indent="0" algn="l" defTabSz="1218406" eaLnBrk="1" latinLnBrk="0" hangingPunct="1">
                <a:lnSpc>
                  <a:spcPct val="90000"/>
                </a:lnSpc>
                <a:spcBef>
                  <a:spcPts val="2250"/>
                </a:spcBef>
                <a:spcAft>
                  <a:spcPts val="0"/>
                </a:spcAft>
                <a:buClrTx/>
                <a:buSzPct val="123000"/>
                <a:buFontTx/>
                <a:buNone/>
                <a:tabLst/>
                <a:defRPr sz="1600" b="0" i="0" u="none" strike="noStrike" cap="none" spc="0" baseline="0">
                  <a:solidFill>
                    <a:schemeClr val="accent1"/>
                  </a:solidFill>
                  <a:uFillTx/>
                  <a:latin typeface="Arial" panose="020B0604020202020204" pitchFamily="34" charset="0"/>
                  <a:ea typeface="Arial"/>
                  <a:cs typeface="Arial" panose="020B0604020202020204" pitchFamily="34" charset="0"/>
                  <a:sym typeface="Arial"/>
                </a:defRPr>
              </a:lvl1pPr>
              <a:lvl2pPr marL="304800" marR="0" indent="0" algn="l" defTabSz="1218406" eaLnBrk="1" latinLnBrk="0" hangingPunct="1">
                <a:lnSpc>
                  <a:spcPct val="90000"/>
                </a:lnSpc>
                <a:spcBef>
                  <a:spcPts val="2250"/>
                </a:spcBef>
                <a:spcAft>
                  <a:spcPts val="0"/>
                </a:spcAft>
                <a:buClrTx/>
                <a:buSzPct val="123000"/>
                <a:buFontTx/>
                <a:buNone/>
                <a:tabLst/>
                <a:defRPr sz="2400" b="0" i="0" u="none" strike="noStrike" cap="none" spc="0" baseline="0"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2pPr>
              <a:lvl3pPr marL="609600" marR="0" indent="0" algn="l" defTabSz="1218406" eaLnBrk="1" latinLnBrk="0" hangingPunct="1">
                <a:lnSpc>
                  <a:spcPct val="90000"/>
                </a:lnSpc>
                <a:spcBef>
                  <a:spcPts val="2250"/>
                </a:spcBef>
                <a:spcAft>
                  <a:spcPts val="0"/>
                </a:spcAft>
                <a:buClrTx/>
                <a:buSzPct val="123000"/>
                <a:buFontTx/>
                <a:buNone/>
                <a:tabLst/>
                <a:defRPr sz="2400" b="0" i="0" u="none" strike="noStrike" cap="none" spc="0" baseline="0"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3pPr>
              <a:lvl4pPr marL="914400" marR="0" indent="0" algn="l" defTabSz="1218406" eaLnBrk="1" latinLnBrk="0" hangingPunct="1">
                <a:lnSpc>
                  <a:spcPct val="90000"/>
                </a:lnSpc>
                <a:spcBef>
                  <a:spcPts val="2250"/>
                </a:spcBef>
                <a:spcAft>
                  <a:spcPts val="0"/>
                </a:spcAft>
                <a:buClrTx/>
                <a:buSzPct val="123000"/>
                <a:buFontTx/>
                <a:buNone/>
                <a:tabLst/>
                <a:defRPr sz="2400" b="0" i="0" u="none" strike="noStrike" cap="none" spc="0" baseline="0"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4pPr>
              <a:lvl5pPr marL="1219200" marR="0" indent="0" algn="l" defTabSz="1218406" eaLnBrk="1" latinLnBrk="0" hangingPunct="1">
                <a:lnSpc>
                  <a:spcPct val="90000"/>
                </a:lnSpc>
                <a:spcBef>
                  <a:spcPts val="2250"/>
                </a:spcBef>
                <a:spcAft>
                  <a:spcPts val="0"/>
                </a:spcAft>
                <a:buClrTx/>
                <a:buSzPct val="123000"/>
                <a:buFontTx/>
                <a:buNone/>
                <a:tabLst/>
                <a:defRPr sz="2400" b="0" i="0" u="none" strike="noStrike" cap="none" spc="0" baseline="0"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5pPr>
              <a:lvl6pPr marL="2260600" marR="0" indent="-812800" algn="l" defTabSz="1218406" eaLnBrk="1" latinLnBrk="0" hangingPunct="1">
                <a:lnSpc>
                  <a:spcPct val="90000"/>
                </a:lnSpc>
                <a:spcBef>
                  <a:spcPts val="2250"/>
                </a:spcBef>
                <a:spcAft>
                  <a:spcPts val="0"/>
                </a:spcAft>
                <a:buClrTx/>
                <a:buSzPct val="123000"/>
                <a:buFontTx/>
                <a:buChar char=""/>
                <a:tabLst/>
                <a:defRPr sz="2400" b="0" i="0" u="none" strike="noStrike" cap="none" spc="0" baseline="0"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6pPr>
              <a:lvl7pPr marL="2489200" marR="0" indent="-812800" algn="l" defTabSz="1218406" eaLnBrk="1" latinLnBrk="0" hangingPunct="1">
                <a:lnSpc>
                  <a:spcPct val="90000"/>
                </a:lnSpc>
                <a:spcBef>
                  <a:spcPts val="2250"/>
                </a:spcBef>
                <a:spcAft>
                  <a:spcPts val="0"/>
                </a:spcAft>
                <a:buClrTx/>
                <a:buSzPct val="123000"/>
                <a:buFontTx/>
                <a:buChar char=""/>
                <a:tabLst/>
                <a:defRPr sz="2400" b="0" i="0" u="none" strike="noStrike" cap="none" spc="0" baseline="0"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7pPr>
              <a:lvl8pPr marL="2717800" marR="0" indent="-812800" algn="l" defTabSz="1218406" eaLnBrk="1" latinLnBrk="0" hangingPunct="1">
                <a:lnSpc>
                  <a:spcPct val="90000"/>
                </a:lnSpc>
                <a:spcBef>
                  <a:spcPts val="2250"/>
                </a:spcBef>
                <a:spcAft>
                  <a:spcPts val="0"/>
                </a:spcAft>
                <a:buClrTx/>
                <a:buSzPct val="123000"/>
                <a:buFontTx/>
                <a:buChar char=""/>
                <a:tabLst/>
                <a:defRPr sz="2400" b="0" i="0" u="none" strike="noStrike" cap="none" spc="0" baseline="0"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8pPr>
              <a:lvl9pPr marL="2946400" marR="0" indent="-812800" algn="l" defTabSz="1218406" eaLnBrk="1" latinLnBrk="0" hangingPunct="1">
                <a:lnSpc>
                  <a:spcPct val="90000"/>
                </a:lnSpc>
                <a:spcBef>
                  <a:spcPts val="2250"/>
                </a:spcBef>
                <a:spcAft>
                  <a:spcPts val="0"/>
                </a:spcAft>
                <a:buClrTx/>
                <a:buSzPct val="123000"/>
                <a:buFontTx/>
                <a:buChar char=""/>
                <a:tabLst/>
                <a:defRPr sz="2400" b="0" i="0" u="none" strike="noStrike" cap="none" spc="0" baseline="0"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>
                <a:lnSpc>
                  <a:spcPct val="100000"/>
                </a:lnSpc>
                <a:spcBef>
                  <a:spcPts val="1650"/>
                </a:spcBef>
                <a:buClr>
                  <a:schemeClr val="accent1"/>
                </a:buClr>
              </a:pPr>
              <a:r>
                <a:rPr lang="es-ES" sz="1200" dirty="0">
                  <a:solidFill>
                    <a:schemeClr val="bg2"/>
                  </a:solidFill>
                  <a:latin typeface="ACHS Nueva Sans Medium" pitchFamily="2" charset="77"/>
                </a:rPr>
                <a:t>Antecedentes epidemiológicos en grupo de riesgos y/o contacto con roedores.</a:t>
              </a:r>
            </a:p>
          </p:txBody>
        </p:sp>
      </p:grpSp>
      <p:sp>
        <p:nvSpPr>
          <p:cNvPr id="74" name="Marcador de texto 5">
            <a:extLst>
              <a:ext uri="{FF2B5EF4-FFF2-40B4-BE49-F238E27FC236}">
                <a16:creationId xmlns:a16="http://schemas.microsoft.com/office/drawing/2014/main" xmlns="" id="{8FE13EF7-2181-B44C-8DE6-B6A9751B75A0}"/>
              </a:ext>
            </a:extLst>
          </p:cNvPr>
          <p:cNvSpPr txBox="1">
            <a:spLocks/>
          </p:cNvSpPr>
          <p:nvPr/>
        </p:nvSpPr>
        <p:spPr>
          <a:xfrm>
            <a:off x="962131" y="2903009"/>
            <a:ext cx="2473781" cy="4478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1600" b="0" i="0" u="none" strike="noStrike" cap="none" spc="0" baseline="0">
                <a:solidFill>
                  <a:schemeClr val="accent1"/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1pPr>
            <a:lvl2pPr marL="3048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6096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9144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2192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lnSpc>
                <a:spcPct val="100000"/>
              </a:lnSpc>
              <a:spcBef>
                <a:spcPts val="1650"/>
              </a:spcBef>
              <a:buClr>
                <a:schemeClr val="accent1"/>
              </a:buClr>
            </a:pPr>
            <a:r>
              <a:rPr lang="es-ES" sz="2000" dirty="0">
                <a:solidFill>
                  <a:schemeClr val="bg1"/>
                </a:solidFill>
                <a:latin typeface="ACHS Nueva Sans Medium" pitchFamily="2" charset="77"/>
              </a:rPr>
              <a:t>Hemograma</a:t>
            </a:r>
          </a:p>
        </p:txBody>
      </p:sp>
      <p:sp>
        <p:nvSpPr>
          <p:cNvPr id="75" name="Marcador de texto 5">
            <a:extLst>
              <a:ext uri="{FF2B5EF4-FFF2-40B4-BE49-F238E27FC236}">
                <a16:creationId xmlns:a16="http://schemas.microsoft.com/office/drawing/2014/main" xmlns="" id="{C52AFB06-20FC-0147-8D47-9E70B744DE5E}"/>
              </a:ext>
            </a:extLst>
          </p:cNvPr>
          <p:cNvSpPr txBox="1">
            <a:spLocks/>
          </p:cNvSpPr>
          <p:nvPr/>
        </p:nvSpPr>
        <p:spPr>
          <a:xfrm>
            <a:off x="7438173" y="2766168"/>
            <a:ext cx="2473781" cy="450935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1600" b="0" i="0" u="none" strike="noStrike" cap="none" spc="0" baseline="0">
                <a:solidFill>
                  <a:schemeClr val="accent1"/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1pPr>
            <a:lvl2pPr marL="3048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6096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9144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2192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lnSpc>
                <a:spcPct val="100000"/>
              </a:lnSpc>
              <a:spcBef>
                <a:spcPts val="1650"/>
              </a:spcBef>
              <a:buClr>
                <a:schemeClr val="accent1"/>
              </a:buClr>
            </a:pPr>
            <a:r>
              <a:rPr lang="es-ES" sz="2000" dirty="0">
                <a:solidFill>
                  <a:schemeClr val="bg1"/>
                </a:solidFill>
                <a:latin typeface="ACHS Nueva Sans Medium" pitchFamily="2" charset="77"/>
              </a:rPr>
              <a:t>Rx. Tórax</a:t>
            </a:r>
          </a:p>
        </p:txBody>
      </p:sp>
      <p:grpSp>
        <p:nvGrpSpPr>
          <p:cNvPr id="81" name="Grupo 80">
            <a:extLst>
              <a:ext uri="{FF2B5EF4-FFF2-40B4-BE49-F238E27FC236}">
                <a16:creationId xmlns:a16="http://schemas.microsoft.com/office/drawing/2014/main" xmlns="" id="{DFA9ADEC-EB43-D446-AC31-A0E5039FC63B}"/>
              </a:ext>
            </a:extLst>
          </p:cNvPr>
          <p:cNvGrpSpPr/>
          <p:nvPr/>
        </p:nvGrpSpPr>
        <p:grpSpPr>
          <a:xfrm>
            <a:off x="7677694" y="3870042"/>
            <a:ext cx="2315058" cy="853298"/>
            <a:chOff x="7473175" y="3739092"/>
            <a:chExt cx="2610162" cy="853298"/>
          </a:xfrm>
        </p:grpSpPr>
        <p:sp>
          <p:nvSpPr>
            <p:cNvPr id="77" name="Rectángulo 76">
              <a:extLst>
                <a:ext uri="{FF2B5EF4-FFF2-40B4-BE49-F238E27FC236}">
                  <a16:creationId xmlns:a16="http://schemas.microsoft.com/office/drawing/2014/main" xmlns="" id="{CCF000B4-CB2A-C64F-9C38-260A0D51FF78}"/>
                </a:ext>
              </a:extLst>
            </p:cNvPr>
            <p:cNvSpPr/>
            <p:nvPr/>
          </p:nvSpPr>
          <p:spPr>
            <a:xfrm>
              <a:off x="7473175" y="3739092"/>
              <a:ext cx="2610162" cy="853298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 sz="1200" dirty="0"/>
            </a:p>
          </p:txBody>
        </p:sp>
        <p:sp>
          <p:nvSpPr>
            <p:cNvPr id="78" name="Marcador de texto 5">
              <a:extLst>
                <a:ext uri="{FF2B5EF4-FFF2-40B4-BE49-F238E27FC236}">
                  <a16:creationId xmlns:a16="http://schemas.microsoft.com/office/drawing/2014/main" xmlns="" id="{D54799EA-E6F7-5D43-8628-AD61C5D4607E}"/>
                </a:ext>
              </a:extLst>
            </p:cNvPr>
            <p:cNvSpPr txBox="1">
              <a:spLocks/>
            </p:cNvSpPr>
            <p:nvPr/>
          </p:nvSpPr>
          <p:spPr>
            <a:xfrm>
              <a:off x="7724127" y="3941896"/>
              <a:ext cx="2141199" cy="575964"/>
            </a:xfrm>
            <a:prstGeom prst="rect">
              <a:avLst/>
            </a:prstGeom>
          </p:spPr>
          <p:txBody>
            <a:bodyPr lIns="0" tIns="0" rIns="0" bIns="0"/>
            <a:lstStyle>
              <a:lvl1pPr marL="0" marR="0" indent="0" algn="l" defTabSz="1218406" eaLnBrk="1" latinLnBrk="0" hangingPunct="1">
                <a:lnSpc>
                  <a:spcPct val="90000"/>
                </a:lnSpc>
                <a:spcBef>
                  <a:spcPts val="2250"/>
                </a:spcBef>
                <a:spcAft>
                  <a:spcPts val="0"/>
                </a:spcAft>
                <a:buClrTx/>
                <a:buSzPct val="123000"/>
                <a:buFontTx/>
                <a:buNone/>
                <a:tabLst/>
                <a:defRPr sz="1600" b="0" i="0" u="none" strike="noStrike" cap="none" spc="0" baseline="0">
                  <a:solidFill>
                    <a:schemeClr val="accent1"/>
                  </a:solidFill>
                  <a:uFillTx/>
                  <a:latin typeface="Arial" panose="020B0604020202020204" pitchFamily="34" charset="0"/>
                  <a:ea typeface="Arial"/>
                  <a:cs typeface="Arial" panose="020B0604020202020204" pitchFamily="34" charset="0"/>
                  <a:sym typeface="Arial"/>
                </a:defRPr>
              </a:lvl1pPr>
              <a:lvl2pPr marL="304800" marR="0" indent="0" algn="l" defTabSz="1218406" eaLnBrk="1" latinLnBrk="0" hangingPunct="1">
                <a:lnSpc>
                  <a:spcPct val="90000"/>
                </a:lnSpc>
                <a:spcBef>
                  <a:spcPts val="2250"/>
                </a:spcBef>
                <a:spcAft>
                  <a:spcPts val="0"/>
                </a:spcAft>
                <a:buClrTx/>
                <a:buSzPct val="123000"/>
                <a:buFontTx/>
                <a:buNone/>
                <a:tabLst/>
                <a:defRPr sz="2400" b="0" i="0" u="none" strike="noStrike" cap="none" spc="0" baseline="0"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2pPr>
              <a:lvl3pPr marL="609600" marR="0" indent="0" algn="l" defTabSz="1218406" eaLnBrk="1" latinLnBrk="0" hangingPunct="1">
                <a:lnSpc>
                  <a:spcPct val="90000"/>
                </a:lnSpc>
                <a:spcBef>
                  <a:spcPts val="2250"/>
                </a:spcBef>
                <a:spcAft>
                  <a:spcPts val="0"/>
                </a:spcAft>
                <a:buClrTx/>
                <a:buSzPct val="123000"/>
                <a:buFontTx/>
                <a:buNone/>
                <a:tabLst/>
                <a:defRPr sz="2400" b="0" i="0" u="none" strike="noStrike" cap="none" spc="0" baseline="0"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3pPr>
              <a:lvl4pPr marL="914400" marR="0" indent="0" algn="l" defTabSz="1218406" eaLnBrk="1" latinLnBrk="0" hangingPunct="1">
                <a:lnSpc>
                  <a:spcPct val="90000"/>
                </a:lnSpc>
                <a:spcBef>
                  <a:spcPts val="2250"/>
                </a:spcBef>
                <a:spcAft>
                  <a:spcPts val="0"/>
                </a:spcAft>
                <a:buClrTx/>
                <a:buSzPct val="123000"/>
                <a:buFontTx/>
                <a:buNone/>
                <a:tabLst/>
                <a:defRPr sz="2400" b="0" i="0" u="none" strike="noStrike" cap="none" spc="0" baseline="0"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4pPr>
              <a:lvl5pPr marL="1219200" marR="0" indent="0" algn="l" defTabSz="1218406" eaLnBrk="1" latinLnBrk="0" hangingPunct="1">
                <a:lnSpc>
                  <a:spcPct val="90000"/>
                </a:lnSpc>
                <a:spcBef>
                  <a:spcPts val="2250"/>
                </a:spcBef>
                <a:spcAft>
                  <a:spcPts val="0"/>
                </a:spcAft>
                <a:buClrTx/>
                <a:buSzPct val="123000"/>
                <a:buFontTx/>
                <a:buNone/>
                <a:tabLst/>
                <a:defRPr sz="2400" b="0" i="0" u="none" strike="noStrike" cap="none" spc="0" baseline="0"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5pPr>
              <a:lvl6pPr marL="2260600" marR="0" indent="-812800" algn="l" defTabSz="1218406" eaLnBrk="1" latinLnBrk="0" hangingPunct="1">
                <a:lnSpc>
                  <a:spcPct val="90000"/>
                </a:lnSpc>
                <a:spcBef>
                  <a:spcPts val="2250"/>
                </a:spcBef>
                <a:spcAft>
                  <a:spcPts val="0"/>
                </a:spcAft>
                <a:buClrTx/>
                <a:buSzPct val="123000"/>
                <a:buFontTx/>
                <a:buChar char=""/>
                <a:tabLst/>
                <a:defRPr sz="2400" b="0" i="0" u="none" strike="noStrike" cap="none" spc="0" baseline="0"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6pPr>
              <a:lvl7pPr marL="2489200" marR="0" indent="-812800" algn="l" defTabSz="1218406" eaLnBrk="1" latinLnBrk="0" hangingPunct="1">
                <a:lnSpc>
                  <a:spcPct val="90000"/>
                </a:lnSpc>
                <a:spcBef>
                  <a:spcPts val="2250"/>
                </a:spcBef>
                <a:spcAft>
                  <a:spcPts val="0"/>
                </a:spcAft>
                <a:buClrTx/>
                <a:buSzPct val="123000"/>
                <a:buFontTx/>
                <a:buChar char=""/>
                <a:tabLst/>
                <a:defRPr sz="2400" b="0" i="0" u="none" strike="noStrike" cap="none" spc="0" baseline="0"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7pPr>
              <a:lvl8pPr marL="2717800" marR="0" indent="-812800" algn="l" defTabSz="1218406" eaLnBrk="1" latinLnBrk="0" hangingPunct="1">
                <a:lnSpc>
                  <a:spcPct val="90000"/>
                </a:lnSpc>
                <a:spcBef>
                  <a:spcPts val="2250"/>
                </a:spcBef>
                <a:spcAft>
                  <a:spcPts val="0"/>
                </a:spcAft>
                <a:buClrTx/>
                <a:buSzPct val="123000"/>
                <a:buFontTx/>
                <a:buChar char=""/>
                <a:tabLst/>
                <a:defRPr sz="2400" b="0" i="0" u="none" strike="noStrike" cap="none" spc="0" baseline="0"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8pPr>
              <a:lvl9pPr marL="2946400" marR="0" indent="-812800" algn="l" defTabSz="1218406" eaLnBrk="1" latinLnBrk="0" hangingPunct="1">
                <a:lnSpc>
                  <a:spcPct val="90000"/>
                </a:lnSpc>
                <a:spcBef>
                  <a:spcPts val="2250"/>
                </a:spcBef>
                <a:spcAft>
                  <a:spcPts val="0"/>
                </a:spcAft>
                <a:buClrTx/>
                <a:buSzPct val="123000"/>
                <a:buFontTx/>
                <a:buChar char=""/>
                <a:tabLst/>
                <a:defRPr sz="2400" b="0" i="0" u="none" strike="noStrike" cap="none" spc="0" baseline="0"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285750" indent="-285750">
                <a:lnSpc>
                  <a:spcPct val="100000"/>
                </a:lnSpc>
                <a:spcBef>
                  <a:spcPts val="1650"/>
                </a:spcBef>
                <a:buClr>
                  <a:schemeClr val="bg1"/>
                </a:buClr>
                <a:buFont typeface="Wingdings" pitchFamily="2" charset="2"/>
                <a:buChar char="§"/>
              </a:pPr>
              <a:r>
                <a:rPr kumimoji="0" lang="es-CL" sz="1200" b="0" i="0" u="none" strike="noStrike" cap="none" spc="0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uFillTx/>
                  <a:latin typeface="ACHS Nueva Sans Medium" pitchFamily="2" charset="77"/>
                  <a:sym typeface="Helvetica Neue"/>
                </a:rPr>
                <a:t>Infiltrado intersticial uni o bilateral.</a:t>
              </a:r>
            </a:p>
          </p:txBody>
        </p:sp>
      </p:grpSp>
      <p:grpSp>
        <p:nvGrpSpPr>
          <p:cNvPr id="80" name="Grupo 79">
            <a:extLst>
              <a:ext uri="{FF2B5EF4-FFF2-40B4-BE49-F238E27FC236}">
                <a16:creationId xmlns:a16="http://schemas.microsoft.com/office/drawing/2014/main" xmlns="" id="{61850D66-3127-2F4C-B5D4-E9BBEB8556D0}"/>
              </a:ext>
            </a:extLst>
          </p:cNvPr>
          <p:cNvGrpSpPr/>
          <p:nvPr/>
        </p:nvGrpSpPr>
        <p:grpSpPr>
          <a:xfrm>
            <a:off x="1123336" y="3892308"/>
            <a:ext cx="2282860" cy="1843844"/>
            <a:chOff x="219417" y="3789099"/>
            <a:chExt cx="2499328" cy="1843844"/>
          </a:xfrm>
        </p:grpSpPr>
        <p:sp>
          <p:nvSpPr>
            <p:cNvPr id="76" name="Rectángulo 75">
              <a:extLst>
                <a:ext uri="{FF2B5EF4-FFF2-40B4-BE49-F238E27FC236}">
                  <a16:creationId xmlns:a16="http://schemas.microsoft.com/office/drawing/2014/main" xmlns="" id="{D2359BC1-D26D-4D49-8062-A40CC0913AC5}"/>
                </a:ext>
              </a:extLst>
            </p:cNvPr>
            <p:cNvSpPr/>
            <p:nvPr/>
          </p:nvSpPr>
          <p:spPr>
            <a:xfrm>
              <a:off x="219417" y="3789099"/>
              <a:ext cx="2499328" cy="1731266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 dirty="0"/>
            </a:p>
          </p:txBody>
        </p:sp>
        <p:sp>
          <p:nvSpPr>
            <p:cNvPr id="79" name="Marcador de texto 5">
              <a:extLst>
                <a:ext uri="{FF2B5EF4-FFF2-40B4-BE49-F238E27FC236}">
                  <a16:creationId xmlns:a16="http://schemas.microsoft.com/office/drawing/2014/main" xmlns="" id="{7CDD504F-F283-C94B-9CE0-EADF0508972C}"/>
                </a:ext>
              </a:extLst>
            </p:cNvPr>
            <p:cNvSpPr txBox="1">
              <a:spLocks/>
            </p:cNvSpPr>
            <p:nvPr/>
          </p:nvSpPr>
          <p:spPr>
            <a:xfrm>
              <a:off x="452941" y="3945668"/>
              <a:ext cx="2141199" cy="1687275"/>
            </a:xfrm>
            <a:prstGeom prst="rect">
              <a:avLst/>
            </a:prstGeom>
          </p:spPr>
          <p:txBody>
            <a:bodyPr lIns="0" tIns="0" rIns="0" bIns="0"/>
            <a:lstStyle>
              <a:lvl1pPr marL="0" marR="0" indent="0" algn="l" defTabSz="1218406" eaLnBrk="1" latinLnBrk="0" hangingPunct="1">
                <a:lnSpc>
                  <a:spcPct val="90000"/>
                </a:lnSpc>
                <a:spcBef>
                  <a:spcPts val="2250"/>
                </a:spcBef>
                <a:spcAft>
                  <a:spcPts val="0"/>
                </a:spcAft>
                <a:buClrTx/>
                <a:buSzPct val="123000"/>
                <a:buFontTx/>
                <a:buNone/>
                <a:tabLst/>
                <a:defRPr sz="1600" b="0" i="0" u="none" strike="noStrike" cap="none" spc="0" baseline="0">
                  <a:solidFill>
                    <a:schemeClr val="accent1"/>
                  </a:solidFill>
                  <a:uFillTx/>
                  <a:latin typeface="Arial" panose="020B0604020202020204" pitchFamily="34" charset="0"/>
                  <a:ea typeface="Arial"/>
                  <a:cs typeface="Arial" panose="020B0604020202020204" pitchFamily="34" charset="0"/>
                  <a:sym typeface="Arial"/>
                </a:defRPr>
              </a:lvl1pPr>
              <a:lvl2pPr marL="304800" marR="0" indent="0" algn="l" defTabSz="1218406" eaLnBrk="1" latinLnBrk="0" hangingPunct="1">
                <a:lnSpc>
                  <a:spcPct val="90000"/>
                </a:lnSpc>
                <a:spcBef>
                  <a:spcPts val="2250"/>
                </a:spcBef>
                <a:spcAft>
                  <a:spcPts val="0"/>
                </a:spcAft>
                <a:buClrTx/>
                <a:buSzPct val="123000"/>
                <a:buFontTx/>
                <a:buNone/>
                <a:tabLst/>
                <a:defRPr sz="2400" b="0" i="0" u="none" strike="noStrike" cap="none" spc="0" baseline="0"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2pPr>
              <a:lvl3pPr marL="609600" marR="0" indent="0" algn="l" defTabSz="1218406" eaLnBrk="1" latinLnBrk="0" hangingPunct="1">
                <a:lnSpc>
                  <a:spcPct val="90000"/>
                </a:lnSpc>
                <a:spcBef>
                  <a:spcPts val="2250"/>
                </a:spcBef>
                <a:spcAft>
                  <a:spcPts val="0"/>
                </a:spcAft>
                <a:buClrTx/>
                <a:buSzPct val="123000"/>
                <a:buFontTx/>
                <a:buNone/>
                <a:tabLst/>
                <a:defRPr sz="2400" b="0" i="0" u="none" strike="noStrike" cap="none" spc="0" baseline="0"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3pPr>
              <a:lvl4pPr marL="914400" marR="0" indent="0" algn="l" defTabSz="1218406" eaLnBrk="1" latinLnBrk="0" hangingPunct="1">
                <a:lnSpc>
                  <a:spcPct val="90000"/>
                </a:lnSpc>
                <a:spcBef>
                  <a:spcPts val="2250"/>
                </a:spcBef>
                <a:spcAft>
                  <a:spcPts val="0"/>
                </a:spcAft>
                <a:buClrTx/>
                <a:buSzPct val="123000"/>
                <a:buFontTx/>
                <a:buNone/>
                <a:tabLst/>
                <a:defRPr sz="2400" b="0" i="0" u="none" strike="noStrike" cap="none" spc="0" baseline="0"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4pPr>
              <a:lvl5pPr marL="1219200" marR="0" indent="0" algn="l" defTabSz="1218406" eaLnBrk="1" latinLnBrk="0" hangingPunct="1">
                <a:lnSpc>
                  <a:spcPct val="90000"/>
                </a:lnSpc>
                <a:spcBef>
                  <a:spcPts val="2250"/>
                </a:spcBef>
                <a:spcAft>
                  <a:spcPts val="0"/>
                </a:spcAft>
                <a:buClrTx/>
                <a:buSzPct val="123000"/>
                <a:buFontTx/>
                <a:buNone/>
                <a:tabLst/>
                <a:defRPr sz="2400" b="0" i="0" u="none" strike="noStrike" cap="none" spc="0" baseline="0"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5pPr>
              <a:lvl6pPr marL="2260600" marR="0" indent="-812800" algn="l" defTabSz="1218406" eaLnBrk="1" latinLnBrk="0" hangingPunct="1">
                <a:lnSpc>
                  <a:spcPct val="90000"/>
                </a:lnSpc>
                <a:spcBef>
                  <a:spcPts val="2250"/>
                </a:spcBef>
                <a:spcAft>
                  <a:spcPts val="0"/>
                </a:spcAft>
                <a:buClrTx/>
                <a:buSzPct val="123000"/>
                <a:buFontTx/>
                <a:buChar char=""/>
                <a:tabLst/>
                <a:defRPr sz="2400" b="0" i="0" u="none" strike="noStrike" cap="none" spc="0" baseline="0"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6pPr>
              <a:lvl7pPr marL="2489200" marR="0" indent="-812800" algn="l" defTabSz="1218406" eaLnBrk="1" latinLnBrk="0" hangingPunct="1">
                <a:lnSpc>
                  <a:spcPct val="90000"/>
                </a:lnSpc>
                <a:spcBef>
                  <a:spcPts val="2250"/>
                </a:spcBef>
                <a:spcAft>
                  <a:spcPts val="0"/>
                </a:spcAft>
                <a:buClrTx/>
                <a:buSzPct val="123000"/>
                <a:buFontTx/>
                <a:buChar char=""/>
                <a:tabLst/>
                <a:defRPr sz="2400" b="0" i="0" u="none" strike="noStrike" cap="none" spc="0" baseline="0"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7pPr>
              <a:lvl8pPr marL="2717800" marR="0" indent="-812800" algn="l" defTabSz="1218406" eaLnBrk="1" latinLnBrk="0" hangingPunct="1">
                <a:lnSpc>
                  <a:spcPct val="90000"/>
                </a:lnSpc>
                <a:spcBef>
                  <a:spcPts val="2250"/>
                </a:spcBef>
                <a:spcAft>
                  <a:spcPts val="0"/>
                </a:spcAft>
                <a:buClrTx/>
                <a:buSzPct val="123000"/>
                <a:buFontTx/>
                <a:buChar char=""/>
                <a:tabLst/>
                <a:defRPr sz="2400" b="0" i="0" u="none" strike="noStrike" cap="none" spc="0" baseline="0"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8pPr>
              <a:lvl9pPr marL="2946400" marR="0" indent="-812800" algn="l" defTabSz="1218406" eaLnBrk="1" latinLnBrk="0" hangingPunct="1">
                <a:lnSpc>
                  <a:spcPct val="90000"/>
                </a:lnSpc>
                <a:spcBef>
                  <a:spcPts val="2250"/>
                </a:spcBef>
                <a:spcAft>
                  <a:spcPts val="0"/>
                </a:spcAft>
                <a:buClrTx/>
                <a:buSzPct val="123000"/>
                <a:buFontTx/>
                <a:buChar char=""/>
                <a:tabLst/>
                <a:defRPr sz="2400" b="0" i="0" u="none" strike="noStrike" cap="none" spc="0" baseline="0">
                  <a:solidFill>
                    <a:srgbClr val="000000"/>
                  </a:solidFill>
                  <a:uFillTx/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285750" indent="-285750">
                <a:lnSpc>
                  <a:spcPct val="100000"/>
                </a:lnSpc>
                <a:spcBef>
                  <a:spcPts val="600"/>
                </a:spcBef>
                <a:buClr>
                  <a:schemeClr val="bg1"/>
                </a:buClr>
                <a:buFont typeface="Wingdings" pitchFamily="2" charset="2"/>
                <a:buChar char="§"/>
              </a:pPr>
              <a:r>
                <a:rPr kumimoji="0" lang="es-CL" sz="1200" b="0" i="0" u="none" strike="noStrike" cap="none" spc="0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uFillTx/>
                  <a:latin typeface="ACHS Nueva Sans Medium" pitchFamily="2" charset="77"/>
                  <a:sym typeface="Helvetica Neue"/>
                </a:rPr>
                <a:t>Desviación izquierda</a:t>
              </a:r>
            </a:p>
            <a:p>
              <a:pPr marL="285750" indent="-285750">
                <a:lnSpc>
                  <a:spcPct val="100000"/>
                </a:lnSpc>
                <a:spcBef>
                  <a:spcPts val="600"/>
                </a:spcBef>
                <a:buClr>
                  <a:schemeClr val="bg1"/>
                </a:buClr>
                <a:buFont typeface="Wingdings" pitchFamily="2" charset="2"/>
                <a:buChar char="§"/>
              </a:pPr>
              <a:r>
                <a:rPr kumimoji="0" lang="es-CL" sz="1200" b="0" i="0" u="none" strike="noStrike" cap="none" spc="0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uFillTx/>
                  <a:latin typeface="ACHS Nueva Sans Medium" pitchFamily="2" charset="77"/>
                  <a:sym typeface="Helvetica Neue"/>
                </a:rPr>
                <a:t>Plaquetas menor a 150.000 mm3</a:t>
              </a:r>
            </a:p>
            <a:p>
              <a:pPr marL="285750" indent="-285750">
                <a:lnSpc>
                  <a:spcPct val="100000"/>
                </a:lnSpc>
                <a:spcBef>
                  <a:spcPts val="600"/>
                </a:spcBef>
                <a:buClr>
                  <a:schemeClr val="bg1"/>
                </a:buClr>
                <a:buFont typeface="Wingdings" pitchFamily="2" charset="2"/>
                <a:buChar char="§"/>
              </a:pPr>
              <a:r>
                <a:rPr kumimoji="0" lang="es-CL" sz="1200" b="0" i="0" u="none" strike="noStrike" cap="none" spc="0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uFillTx/>
                  <a:latin typeface="ACHS Nueva Sans Medium" pitchFamily="2" charset="77"/>
                  <a:sym typeface="Helvetica Neue"/>
                </a:rPr>
                <a:t>Hto &gt;= 50</a:t>
              </a:r>
            </a:p>
            <a:p>
              <a:pPr marL="285750" indent="-285750">
                <a:lnSpc>
                  <a:spcPct val="100000"/>
                </a:lnSpc>
                <a:spcBef>
                  <a:spcPts val="600"/>
                </a:spcBef>
                <a:buClr>
                  <a:schemeClr val="bg1"/>
                </a:buClr>
                <a:buFont typeface="Wingdings" pitchFamily="2" charset="2"/>
                <a:buChar char="§"/>
              </a:pPr>
              <a:r>
                <a:rPr kumimoji="0" lang="es-CL" sz="1200" b="0" i="0" u="none" strike="noStrike" cap="none" spc="0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uFillTx/>
                  <a:latin typeface="ACHS Nueva Sans Medium" pitchFamily="2" charset="77"/>
                  <a:sym typeface="Helvetica Neue"/>
                </a:rPr>
                <a:t>Células inmaduras: blastos &gt; 10</a:t>
              </a:r>
            </a:p>
          </p:txBody>
        </p:sp>
      </p:grpSp>
      <p:sp>
        <p:nvSpPr>
          <p:cNvPr id="82" name="Marcador de texto 5">
            <a:extLst>
              <a:ext uri="{FF2B5EF4-FFF2-40B4-BE49-F238E27FC236}">
                <a16:creationId xmlns:a16="http://schemas.microsoft.com/office/drawing/2014/main" xmlns="" id="{48728DED-0CC0-1D4C-867C-B04AB73529D7}"/>
              </a:ext>
            </a:extLst>
          </p:cNvPr>
          <p:cNvSpPr txBox="1">
            <a:spLocks/>
          </p:cNvSpPr>
          <p:nvPr/>
        </p:nvSpPr>
        <p:spPr>
          <a:xfrm>
            <a:off x="4237827" y="4330401"/>
            <a:ext cx="2473781" cy="318313"/>
          </a:xfrm>
          <a:prstGeom prst="rect">
            <a:avLst/>
          </a:prstGeom>
          <a:solidFill>
            <a:schemeClr val="tx2"/>
          </a:solidFill>
        </p:spPr>
        <p:txBody>
          <a:bodyPr lIns="0" tIns="0" rIns="0" bIns="0"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1600" b="0" i="0" u="none" strike="noStrike" cap="none" spc="0" baseline="0">
                <a:solidFill>
                  <a:schemeClr val="accent1"/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1pPr>
            <a:lvl2pPr marL="3048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6096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9144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2192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lnSpc>
                <a:spcPct val="100000"/>
              </a:lnSpc>
              <a:spcBef>
                <a:spcPts val="1650"/>
              </a:spcBef>
              <a:buClr>
                <a:schemeClr val="accent1"/>
              </a:buClr>
            </a:pPr>
            <a:r>
              <a:rPr lang="es-ES" sz="2000" b="1" dirty="0">
                <a:solidFill>
                  <a:schemeClr val="bg2"/>
                </a:solidFill>
                <a:latin typeface="ACHS Nueva Sans" pitchFamily="2" charset="77"/>
              </a:rPr>
              <a:t>CASO SOSPECHOSO</a:t>
            </a:r>
          </a:p>
          <a:p>
            <a:pPr algn="ctr">
              <a:lnSpc>
                <a:spcPct val="100000"/>
              </a:lnSpc>
              <a:spcBef>
                <a:spcPts val="1650"/>
              </a:spcBef>
              <a:buClr>
                <a:schemeClr val="accent1"/>
              </a:buClr>
            </a:pPr>
            <a:endParaRPr lang="es-ES" sz="2000" b="1" dirty="0">
              <a:solidFill>
                <a:schemeClr val="bg2"/>
              </a:solidFill>
              <a:latin typeface="ACHS Nueva Sans" pitchFamily="2" charset="77"/>
            </a:endParaRPr>
          </a:p>
        </p:txBody>
      </p:sp>
      <p:sp>
        <p:nvSpPr>
          <p:cNvPr id="83" name="Marcador de texto 5">
            <a:extLst>
              <a:ext uri="{FF2B5EF4-FFF2-40B4-BE49-F238E27FC236}">
                <a16:creationId xmlns:a16="http://schemas.microsoft.com/office/drawing/2014/main" xmlns="" id="{A836412C-8EE2-834E-9A5B-D55BF34F8E83}"/>
              </a:ext>
            </a:extLst>
          </p:cNvPr>
          <p:cNvSpPr txBox="1">
            <a:spLocks/>
          </p:cNvSpPr>
          <p:nvPr/>
        </p:nvSpPr>
        <p:spPr>
          <a:xfrm>
            <a:off x="4237826" y="3033747"/>
            <a:ext cx="2473781" cy="318313"/>
          </a:xfrm>
          <a:prstGeom prst="rect">
            <a:avLst/>
          </a:prstGeom>
          <a:solidFill>
            <a:schemeClr val="tx2"/>
          </a:solidFill>
        </p:spPr>
        <p:txBody>
          <a:bodyPr lIns="0" tIns="0" rIns="0" bIns="0"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1600" b="0" i="0" u="none" strike="noStrike" cap="none" spc="0" baseline="0">
                <a:solidFill>
                  <a:schemeClr val="accent1"/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1pPr>
            <a:lvl2pPr marL="3048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6096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9144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2192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lnSpc>
                <a:spcPct val="100000"/>
              </a:lnSpc>
              <a:spcBef>
                <a:spcPts val="1650"/>
              </a:spcBef>
              <a:buClr>
                <a:schemeClr val="accent1"/>
              </a:buClr>
            </a:pPr>
            <a:r>
              <a:rPr lang="es-ES" sz="2000" b="1" dirty="0">
                <a:solidFill>
                  <a:schemeClr val="bg2"/>
                </a:solidFill>
                <a:latin typeface="ACHS Nueva Sans" pitchFamily="2" charset="77"/>
              </a:rPr>
              <a:t>SOLICITAR</a:t>
            </a:r>
          </a:p>
        </p:txBody>
      </p:sp>
      <p:sp>
        <p:nvSpPr>
          <p:cNvPr id="84" name="Marcador de texto 5">
            <a:extLst>
              <a:ext uri="{FF2B5EF4-FFF2-40B4-BE49-F238E27FC236}">
                <a16:creationId xmlns:a16="http://schemas.microsoft.com/office/drawing/2014/main" xmlns="" id="{F70A506C-0723-B948-A178-78B84055A0B1}"/>
              </a:ext>
            </a:extLst>
          </p:cNvPr>
          <p:cNvSpPr txBox="1">
            <a:spLocks/>
          </p:cNvSpPr>
          <p:nvPr/>
        </p:nvSpPr>
        <p:spPr>
          <a:xfrm>
            <a:off x="4266341" y="3754817"/>
            <a:ext cx="2473781" cy="4478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1600" b="0" i="0" u="none" strike="noStrike" cap="none" spc="0" baseline="0">
                <a:solidFill>
                  <a:schemeClr val="accent1"/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1pPr>
            <a:lvl2pPr marL="3048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6096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9144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2192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lnSpc>
                <a:spcPct val="100000"/>
              </a:lnSpc>
              <a:spcBef>
                <a:spcPts val="1650"/>
              </a:spcBef>
              <a:buClr>
                <a:schemeClr val="accent1"/>
              </a:buClr>
            </a:pPr>
            <a:r>
              <a:rPr lang="es-ES" sz="2000" b="1" dirty="0">
                <a:solidFill>
                  <a:schemeClr val="bg2"/>
                </a:solidFill>
                <a:latin typeface="ACHS Nueva Sans" pitchFamily="2" charset="77"/>
              </a:rPr>
              <a:t>O</a:t>
            </a:r>
          </a:p>
        </p:txBody>
      </p:sp>
      <p:sp>
        <p:nvSpPr>
          <p:cNvPr id="85" name="Marcador de texto 5">
            <a:extLst>
              <a:ext uri="{FF2B5EF4-FFF2-40B4-BE49-F238E27FC236}">
                <a16:creationId xmlns:a16="http://schemas.microsoft.com/office/drawing/2014/main" xmlns="" id="{A0196059-B248-994A-B1E0-B71010D6EC15}"/>
              </a:ext>
            </a:extLst>
          </p:cNvPr>
          <p:cNvSpPr txBox="1">
            <a:spLocks/>
          </p:cNvSpPr>
          <p:nvPr/>
        </p:nvSpPr>
        <p:spPr>
          <a:xfrm>
            <a:off x="4322801" y="6310856"/>
            <a:ext cx="2473781" cy="318313"/>
          </a:xfrm>
          <a:prstGeom prst="rect">
            <a:avLst/>
          </a:prstGeom>
          <a:solidFill>
            <a:schemeClr val="tx2"/>
          </a:solidFill>
        </p:spPr>
        <p:txBody>
          <a:bodyPr lIns="0" tIns="0" rIns="0" bIns="0"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1600" b="0" i="0" u="none" strike="noStrike" cap="none" spc="0" baseline="0">
                <a:solidFill>
                  <a:schemeClr val="accent1"/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1pPr>
            <a:lvl2pPr marL="3048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6096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9144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2192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lnSpc>
                <a:spcPct val="100000"/>
              </a:lnSpc>
              <a:spcBef>
                <a:spcPts val="1650"/>
              </a:spcBef>
              <a:buClr>
                <a:schemeClr val="accent1"/>
              </a:buClr>
            </a:pPr>
            <a:r>
              <a:rPr lang="es-ES" sz="2000" b="1" dirty="0">
                <a:solidFill>
                  <a:schemeClr val="bg2"/>
                </a:solidFill>
                <a:latin typeface="ACHS Nueva Sans" pitchFamily="2" charset="77"/>
              </a:rPr>
              <a:t>HOSPITALIZACIÓN</a:t>
            </a:r>
          </a:p>
        </p:txBody>
      </p:sp>
      <p:pic>
        <p:nvPicPr>
          <p:cNvPr id="86" name="Imagen 85">
            <a:extLst>
              <a:ext uri="{FF2B5EF4-FFF2-40B4-BE49-F238E27FC236}">
                <a16:creationId xmlns:a16="http://schemas.microsoft.com/office/drawing/2014/main" xmlns="" id="{348FBFA0-55CF-9F44-B365-9D7841E3C88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794726" y="5315074"/>
            <a:ext cx="1008378" cy="92834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9169332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Marcador de texto 4">
            <a:extLst>
              <a:ext uri="{FF2B5EF4-FFF2-40B4-BE49-F238E27FC236}">
                <a16:creationId xmlns:a16="http://schemas.microsoft.com/office/drawing/2014/main" xmlns="" id="{82BF26E2-BB97-8646-B9F5-505E94DC2F62}"/>
              </a:ext>
            </a:extLst>
          </p:cNvPr>
          <p:cNvSpPr txBox="1">
            <a:spLocks/>
          </p:cNvSpPr>
          <p:nvPr/>
        </p:nvSpPr>
        <p:spPr>
          <a:xfrm>
            <a:off x="449262" y="496571"/>
            <a:ext cx="9865812" cy="52387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2000" b="0" kern="1200">
                <a:solidFill>
                  <a:schemeClr val="accent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04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609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219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CL" dirty="0">
                <a:latin typeface="ACHS Nueva Serif" pitchFamily="2" charset="77"/>
              </a:rPr>
              <a:t>Antes de comenzar</a:t>
            </a:r>
          </a:p>
        </p:txBody>
      </p:sp>
      <p:sp>
        <p:nvSpPr>
          <p:cNvPr id="20" name="Marcador de texto 4">
            <a:extLst>
              <a:ext uri="{FF2B5EF4-FFF2-40B4-BE49-F238E27FC236}">
                <a16:creationId xmlns:a16="http://schemas.microsoft.com/office/drawing/2014/main" xmlns="" id="{DA2CE009-FE9D-0C44-AB59-1487F3AAF055}"/>
              </a:ext>
            </a:extLst>
          </p:cNvPr>
          <p:cNvSpPr txBox="1">
            <a:spLocks/>
          </p:cNvSpPr>
          <p:nvPr/>
        </p:nvSpPr>
        <p:spPr>
          <a:xfrm>
            <a:off x="526890" y="2208672"/>
            <a:ext cx="1199956" cy="7992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7000" b="1" kern="120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ES" sz="4800" dirty="0">
                <a:solidFill>
                  <a:schemeClr val="bg2"/>
                </a:solidFill>
                <a:latin typeface="ACHS Nueva Sans SemiBold" pitchFamily="2" charset="77"/>
              </a:rPr>
              <a:t>01</a:t>
            </a:r>
            <a:endParaRPr lang="es-CL" sz="4800" dirty="0">
              <a:solidFill>
                <a:schemeClr val="bg2"/>
              </a:solidFill>
              <a:latin typeface="ACHS Nueva Sans SemiBold" pitchFamily="2" charset="77"/>
            </a:endParaRPr>
          </a:p>
        </p:txBody>
      </p:sp>
      <p:sp>
        <p:nvSpPr>
          <p:cNvPr id="21" name="Marcador de texto 4">
            <a:extLst>
              <a:ext uri="{FF2B5EF4-FFF2-40B4-BE49-F238E27FC236}">
                <a16:creationId xmlns:a16="http://schemas.microsoft.com/office/drawing/2014/main" xmlns="" id="{BED3B751-F2FF-504B-98C0-A32954D30417}"/>
              </a:ext>
            </a:extLst>
          </p:cNvPr>
          <p:cNvSpPr txBox="1">
            <a:spLocks/>
          </p:cNvSpPr>
          <p:nvPr/>
        </p:nvSpPr>
        <p:spPr>
          <a:xfrm>
            <a:off x="3411953" y="2213429"/>
            <a:ext cx="1199956" cy="7992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7000" b="1" kern="120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ES" sz="4800" dirty="0">
                <a:solidFill>
                  <a:schemeClr val="bg2"/>
                </a:solidFill>
                <a:latin typeface="ACHS Nueva Sans SemiBold" pitchFamily="2" charset="77"/>
              </a:rPr>
              <a:t>02</a:t>
            </a:r>
            <a:endParaRPr lang="es-CL" sz="4800" dirty="0">
              <a:solidFill>
                <a:schemeClr val="bg2"/>
              </a:solidFill>
              <a:latin typeface="ACHS Nueva Sans SemiBold" pitchFamily="2" charset="77"/>
            </a:endParaRPr>
          </a:p>
        </p:txBody>
      </p:sp>
      <p:sp>
        <p:nvSpPr>
          <p:cNvPr id="22" name="Marcador de texto 4">
            <a:extLst>
              <a:ext uri="{FF2B5EF4-FFF2-40B4-BE49-F238E27FC236}">
                <a16:creationId xmlns:a16="http://schemas.microsoft.com/office/drawing/2014/main" xmlns="" id="{06DC1D65-9734-D74B-B5E6-1B52A46DBED3}"/>
              </a:ext>
            </a:extLst>
          </p:cNvPr>
          <p:cNvSpPr txBox="1">
            <a:spLocks/>
          </p:cNvSpPr>
          <p:nvPr/>
        </p:nvSpPr>
        <p:spPr>
          <a:xfrm>
            <a:off x="6513991" y="2212587"/>
            <a:ext cx="1199956" cy="7992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7000" b="1" kern="120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ES" sz="4800" dirty="0">
                <a:solidFill>
                  <a:schemeClr val="bg2"/>
                </a:solidFill>
                <a:latin typeface="ACHS Nueva Sans SemiBold" pitchFamily="2" charset="77"/>
              </a:rPr>
              <a:t>03</a:t>
            </a:r>
            <a:endParaRPr lang="es-CL" sz="4800" dirty="0">
              <a:solidFill>
                <a:schemeClr val="bg2"/>
              </a:solidFill>
              <a:latin typeface="ACHS Nueva Sans SemiBold" pitchFamily="2" charset="77"/>
            </a:endParaRPr>
          </a:p>
        </p:txBody>
      </p:sp>
      <p:sp>
        <p:nvSpPr>
          <p:cNvPr id="23" name="Marcador de texto 4">
            <a:extLst>
              <a:ext uri="{FF2B5EF4-FFF2-40B4-BE49-F238E27FC236}">
                <a16:creationId xmlns:a16="http://schemas.microsoft.com/office/drawing/2014/main" xmlns="" id="{87E11CAD-514C-7247-8430-DE29FE8F2313}"/>
              </a:ext>
            </a:extLst>
          </p:cNvPr>
          <p:cNvSpPr txBox="1">
            <a:spLocks/>
          </p:cNvSpPr>
          <p:nvPr/>
        </p:nvSpPr>
        <p:spPr>
          <a:xfrm>
            <a:off x="9585030" y="2212587"/>
            <a:ext cx="1199956" cy="7992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7000" b="1" kern="120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ES" sz="4800" dirty="0">
                <a:solidFill>
                  <a:schemeClr val="bg2"/>
                </a:solidFill>
                <a:latin typeface="ACHS Nueva Sans SemiBold" pitchFamily="2" charset="77"/>
              </a:rPr>
              <a:t>04</a:t>
            </a:r>
            <a:endParaRPr lang="es-CL" sz="4800" dirty="0">
              <a:solidFill>
                <a:schemeClr val="bg2"/>
              </a:solidFill>
              <a:latin typeface="ACHS Nueva Sans SemiBold" pitchFamily="2" charset="77"/>
            </a:endParaRPr>
          </a:p>
        </p:txBody>
      </p:sp>
      <p:sp>
        <p:nvSpPr>
          <p:cNvPr id="24" name="Marcador de texto 5">
            <a:extLst>
              <a:ext uri="{FF2B5EF4-FFF2-40B4-BE49-F238E27FC236}">
                <a16:creationId xmlns:a16="http://schemas.microsoft.com/office/drawing/2014/main" xmlns="" id="{D5FD5700-83B4-5F41-B4C7-00F3810E3476}"/>
              </a:ext>
            </a:extLst>
          </p:cNvPr>
          <p:cNvSpPr txBox="1">
            <a:spLocks/>
          </p:cNvSpPr>
          <p:nvPr/>
        </p:nvSpPr>
        <p:spPr>
          <a:xfrm>
            <a:off x="584328" y="4625431"/>
            <a:ext cx="1481151" cy="42688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1600" b="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04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609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219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CL" b="1" dirty="0">
                <a:solidFill>
                  <a:schemeClr val="bg2"/>
                </a:solidFill>
                <a:latin typeface="ACHS Nueva Sans SemiBold" pitchFamily="2" charset="77"/>
              </a:rPr>
              <a:t>Bienvenida</a:t>
            </a:r>
          </a:p>
        </p:txBody>
      </p:sp>
      <p:sp>
        <p:nvSpPr>
          <p:cNvPr id="25" name="Marcador de texto 5">
            <a:extLst>
              <a:ext uri="{FF2B5EF4-FFF2-40B4-BE49-F238E27FC236}">
                <a16:creationId xmlns:a16="http://schemas.microsoft.com/office/drawing/2014/main" xmlns="" id="{8BD87AB3-58C3-434E-9A8B-D66C90A071A9}"/>
              </a:ext>
            </a:extLst>
          </p:cNvPr>
          <p:cNvSpPr txBox="1">
            <a:spLocks/>
          </p:cNvSpPr>
          <p:nvPr/>
        </p:nvSpPr>
        <p:spPr>
          <a:xfrm>
            <a:off x="3399325" y="4644570"/>
            <a:ext cx="1659132" cy="62093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1600" b="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04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609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219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CL" b="1" dirty="0">
                <a:solidFill>
                  <a:schemeClr val="bg2"/>
                </a:solidFill>
                <a:latin typeface="ACHS Nueva Sans SemiBold" pitchFamily="2" charset="77"/>
              </a:rPr>
              <a:t>Objetivos</a:t>
            </a:r>
          </a:p>
        </p:txBody>
      </p:sp>
      <p:sp>
        <p:nvSpPr>
          <p:cNvPr id="26" name="Marcador de texto 5">
            <a:extLst>
              <a:ext uri="{FF2B5EF4-FFF2-40B4-BE49-F238E27FC236}">
                <a16:creationId xmlns:a16="http://schemas.microsoft.com/office/drawing/2014/main" xmlns="" id="{61D1D720-5C23-D343-A1E0-3485EAA9CA49}"/>
              </a:ext>
            </a:extLst>
          </p:cNvPr>
          <p:cNvSpPr txBox="1">
            <a:spLocks/>
          </p:cNvSpPr>
          <p:nvPr/>
        </p:nvSpPr>
        <p:spPr>
          <a:xfrm>
            <a:off x="6392303" y="4644572"/>
            <a:ext cx="1659132" cy="62093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1600" b="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04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609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219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CL" b="1" dirty="0">
                <a:solidFill>
                  <a:schemeClr val="bg2"/>
                </a:solidFill>
                <a:latin typeface="ACHS Nueva Sans SemiBold" pitchFamily="2" charset="77"/>
              </a:rPr>
              <a:t>Preguntas</a:t>
            </a:r>
          </a:p>
        </p:txBody>
      </p:sp>
      <p:sp>
        <p:nvSpPr>
          <p:cNvPr id="27" name="Marcador de texto 5">
            <a:extLst>
              <a:ext uri="{FF2B5EF4-FFF2-40B4-BE49-F238E27FC236}">
                <a16:creationId xmlns:a16="http://schemas.microsoft.com/office/drawing/2014/main" xmlns="" id="{A3F4DDCB-ED3B-6242-AEEB-110BF05F583F}"/>
              </a:ext>
            </a:extLst>
          </p:cNvPr>
          <p:cNvSpPr txBox="1">
            <a:spLocks/>
          </p:cNvSpPr>
          <p:nvPr/>
        </p:nvSpPr>
        <p:spPr>
          <a:xfrm>
            <a:off x="9444431" y="4629414"/>
            <a:ext cx="1481151" cy="62093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1600" b="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04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609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219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CL" b="1" dirty="0">
                <a:solidFill>
                  <a:schemeClr val="bg2"/>
                </a:solidFill>
                <a:latin typeface="ACHS Nueva Sans SemiBold" pitchFamily="2" charset="77"/>
              </a:rPr>
              <a:t>Presentación </a:t>
            </a:r>
            <a:r>
              <a:rPr lang="es-CL" b="1" dirty="0" smtClean="0">
                <a:solidFill>
                  <a:schemeClr val="bg2"/>
                </a:solidFill>
                <a:latin typeface="ACHS Nueva Sans SemiBold" pitchFamily="2" charset="77"/>
              </a:rPr>
              <a:t>de la charla</a:t>
            </a:r>
            <a:endParaRPr lang="es-CL" b="1" dirty="0">
              <a:solidFill>
                <a:schemeClr val="bg2"/>
              </a:solidFill>
              <a:latin typeface="ACHS Nueva Sans SemiBold" pitchFamily="2" charset="77"/>
            </a:endParaRPr>
          </a:p>
        </p:txBody>
      </p:sp>
      <p:pic>
        <p:nvPicPr>
          <p:cNvPr id="28" name="Imagen 27">
            <a:extLst>
              <a:ext uri="{FF2B5EF4-FFF2-40B4-BE49-F238E27FC236}">
                <a16:creationId xmlns:a16="http://schemas.microsoft.com/office/drawing/2014/main" xmlns="" id="{AB8B46DC-697D-DF4C-BADE-9E1CFF2ABA1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84327" y="3060478"/>
            <a:ext cx="1481153" cy="1071472"/>
          </a:xfrm>
          <a:prstGeom prst="rect">
            <a:avLst/>
          </a:prstGeom>
        </p:spPr>
      </p:pic>
      <p:pic>
        <p:nvPicPr>
          <p:cNvPr id="29" name="Imagen 28">
            <a:extLst>
              <a:ext uri="{FF2B5EF4-FFF2-40B4-BE49-F238E27FC236}">
                <a16:creationId xmlns:a16="http://schemas.microsoft.com/office/drawing/2014/main" xmlns="" id="{8A848701-20FD-4042-9487-B91A65C4FD0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610960" y="3076234"/>
            <a:ext cx="1102987" cy="1039959"/>
          </a:xfrm>
          <a:prstGeom prst="rect">
            <a:avLst/>
          </a:prstGeom>
        </p:spPr>
      </p:pic>
      <p:pic>
        <p:nvPicPr>
          <p:cNvPr id="30" name="Imagen 29">
            <a:extLst>
              <a:ext uri="{FF2B5EF4-FFF2-40B4-BE49-F238E27FC236}">
                <a16:creationId xmlns:a16="http://schemas.microsoft.com/office/drawing/2014/main" xmlns="" id="{54B7F94D-FC08-164E-930F-0E6A9017B97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587704" y="3165157"/>
            <a:ext cx="1157089" cy="1124948"/>
          </a:xfrm>
          <a:prstGeom prst="rect">
            <a:avLst/>
          </a:prstGeom>
        </p:spPr>
      </p:pic>
      <p:pic>
        <p:nvPicPr>
          <p:cNvPr id="31" name="Imagen 30">
            <a:extLst>
              <a:ext uri="{FF2B5EF4-FFF2-40B4-BE49-F238E27FC236}">
                <a16:creationId xmlns:a16="http://schemas.microsoft.com/office/drawing/2014/main" xmlns="" id="{2876326A-DFB9-C14E-B3B3-32F72F1E457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 flipH="1">
            <a:off x="3515201" y="3056763"/>
            <a:ext cx="1427380" cy="1341737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2098773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n 2">
            <a:extLst>
              <a:ext uri="{FF2B5EF4-FFF2-40B4-BE49-F238E27FC236}">
                <a16:creationId xmlns:a16="http://schemas.microsoft.com/office/drawing/2014/main" xmlns="" id="{AA6620D5-D703-E748-BC93-6F894FD5B863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067" t="7497" r="3329" b="9691"/>
          <a:stretch/>
        </p:blipFill>
        <p:spPr>
          <a:xfrm>
            <a:off x="4473574" y="1504999"/>
            <a:ext cx="7718426" cy="5353002"/>
          </a:xfrm>
          <a:prstGeom prst="rect">
            <a:avLst/>
          </a:prstGeom>
        </p:spPr>
      </p:pic>
      <p:sp>
        <p:nvSpPr>
          <p:cNvPr id="17" name="Text Placeholder 11">
            <a:extLst>
              <a:ext uri="{FF2B5EF4-FFF2-40B4-BE49-F238E27FC236}">
                <a16:creationId xmlns:a16="http://schemas.microsoft.com/office/drawing/2014/main" xmlns="" id="{8B8147D9-6C1A-C54D-BA01-71B865FA89C4}"/>
              </a:ext>
            </a:extLst>
          </p:cNvPr>
          <p:cNvSpPr txBox="1">
            <a:spLocks/>
          </p:cNvSpPr>
          <p:nvPr/>
        </p:nvSpPr>
        <p:spPr>
          <a:xfrm>
            <a:off x="436561" y="981125"/>
            <a:ext cx="9865812" cy="35628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16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04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609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219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CL" dirty="0">
                <a:latin typeface="ACHS Nueva Sans Medium" pitchFamily="2" charset="77"/>
              </a:rPr>
              <a:t>Caso sospechoso de SCPH</a:t>
            </a:r>
            <a:endParaRPr lang="x-none" dirty="0">
              <a:latin typeface="ACHS Nueva Sans Medium" pitchFamily="2" charset="77"/>
            </a:endParaRPr>
          </a:p>
        </p:txBody>
      </p:sp>
      <p:sp>
        <p:nvSpPr>
          <p:cNvPr id="12" name="Marcador de texto 5">
            <a:extLst>
              <a:ext uri="{FF2B5EF4-FFF2-40B4-BE49-F238E27FC236}">
                <a16:creationId xmlns:a16="http://schemas.microsoft.com/office/drawing/2014/main" xmlns="" id="{C34760D0-66D0-D646-9F53-0F3BDA5B2980}"/>
              </a:ext>
            </a:extLst>
          </p:cNvPr>
          <p:cNvSpPr txBox="1">
            <a:spLocks/>
          </p:cNvSpPr>
          <p:nvPr/>
        </p:nvSpPr>
        <p:spPr>
          <a:xfrm>
            <a:off x="449261" y="1538289"/>
            <a:ext cx="3108948" cy="3970206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1600" b="0" i="0" u="none" strike="noStrike" cap="none" spc="0" baseline="0">
                <a:solidFill>
                  <a:schemeClr val="accent1"/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1pPr>
            <a:lvl2pPr marL="3048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6096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9144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2192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285750" indent="-285750">
              <a:lnSpc>
                <a:spcPct val="100000"/>
              </a:lnSpc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dirty="0" smtClean="0">
                <a:solidFill>
                  <a:schemeClr val="accent3">
                    <a:lumMod val="75000"/>
                    <a:lumOff val="25000"/>
                  </a:schemeClr>
                </a:solidFill>
                <a:latin typeface="ACHS Nueva Sans Medium" pitchFamily="2" charset="77"/>
              </a:rPr>
              <a:t>Temperatura </a:t>
            </a:r>
            <a:r>
              <a:rPr lang="es-ES" dirty="0">
                <a:solidFill>
                  <a:schemeClr val="accent3">
                    <a:lumMod val="75000"/>
                    <a:lumOff val="25000"/>
                  </a:schemeClr>
                </a:solidFill>
                <a:latin typeface="ACHS Nueva Sans Medium" pitchFamily="2" charset="77"/>
              </a:rPr>
              <a:t>mayor 38° C, con mialgias, cefalea, c/s síntomas GI.</a:t>
            </a:r>
          </a:p>
          <a:p>
            <a:pPr marL="285750" indent="-285750">
              <a:lnSpc>
                <a:spcPct val="100000"/>
              </a:lnSpc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dirty="0">
                <a:solidFill>
                  <a:schemeClr val="accent3">
                    <a:lumMod val="75000"/>
                    <a:lumOff val="25000"/>
                  </a:schemeClr>
                </a:solidFill>
                <a:latin typeface="ACHS Nueva Sans Medium" pitchFamily="2" charset="77"/>
              </a:rPr>
              <a:t>Rx tórax con infiltrado.</a:t>
            </a:r>
          </a:p>
          <a:p>
            <a:pPr>
              <a:lnSpc>
                <a:spcPct val="100000"/>
              </a:lnSpc>
              <a:buClr>
                <a:schemeClr val="accent1"/>
              </a:buClr>
            </a:pPr>
            <a:r>
              <a:rPr lang="es-ES" sz="6000" b="1" dirty="0">
                <a:latin typeface="ACHS Nueva Sans Medium" pitchFamily="2" charset="77"/>
              </a:rPr>
              <a:t>O:</a:t>
            </a:r>
          </a:p>
          <a:p>
            <a:pPr marL="285750" indent="-285750">
              <a:lnSpc>
                <a:spcPct val="100000"/>
              </a:lnSpc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dirty="0">
                <a:solidFill>
                  <a:schemeClr val="accent3">
                    <a:lumMod val="75000"/>
                    <a:lumOff val="25000"/>
                  </a:schemeClr>
                </a:solidFill>
                <a:latin typeface="ACHS Nueva Sans Medium" pitchFamily="2" charset="77"/>
              </a:rPr>
              <a:t>Hemograma con trombocitopenia, leucocitos con desviación a izquierda, inmunoblastos mayor 10%, c/s hemoconcentración.</a:t>
            </a:r>
          </a:p>
        </p:txBody>
      </p:sp>
      <p:sp>
        <p:nvSpPr>
          <p:cNvPr id="9" name="Marcador de texto 4">
            <a:extLst>
              <a:ext uri="{FF2B5EF4-FFF2-40B4-BE49-F238E27FC236}">
                <a16:creationId xmlns:a16="http://schemas.microsoft.com/office/drawing/2014/main" xmlns="" id="{869712B3-6FC2-8142-B70D-238096216E9C}"/>
              </a:ext>
            </a:extLst>
          </p:cNvPr>
          <p:cNvSpPr txBox="1">
            <a:spLocks/>
          </p:cNvSpPr>
          <p:nvPr/>
        </p:nvSpPr>
        <p:spPr>
          <a:xfrm>
            <a:off x="449262" y="496571"/>
            <a:ext cx="9865812" cy="52387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2000" b="0" kern="1200">
                <a:solidFill>
                  <a:schemeClr val="accent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04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609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219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CL" dirty="0">
                <a:latin typeface="ACHS Nueva Serif" pitchFamily="2" charset="77"/>
              </a:rPr>
              <a:t>Definición de caso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8097729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n 2">
            <a:extLst>
              <a:ext uri="{FF2B5EF4-FFF2-40B4-BE49-F238E27FC236}">
                <a16:creationId xmlns:a16="http://schemas.microsoft.com/office/drawing/2014/main" xmlns="" id="{BE0EA2C9-FBEE-1C41-9AB1-7881D9E9CEEE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013" t="7319" b="15154"/>
          <a:stretch/>
        </p:blipFill>
        <p:spPr>
          <a:xfrm>
            <a:off x="4473574" y="1538289"/>
            <a:ext cx="7718427" cy="5319712"/>
          </a:xfrm>
          <a:prstGeom prst="rect">
            <a:avLst/>
          </a:prstGeom>
        </p:spPr>
      </p:pic>
      <p:sp>
        <p:nvSpPr>
          <p:cNvPr id="17" name="Text Placeholder 11">
            <a:extLst>
              <a:ext uri="{FF2B5EF4-FFF2-40B4-BE49-F238E27FC236}">
                <a16:creationId xmlns:a16="http://schemas.microsoft.com/office/drawing/2014/main" xmlns="" id="{8B8147D9-6C1A-C54D-BA01-71B865FA89C4}"/>
              </a:ext>
            </a:extLst>
          </p:cNvPr>
          <p:cNvSpPr txBox="1">
            <a:spLocks/>
          </p:cNvSpPr>
          <p:nvPr/>
        </p:nvSpPr>
        <p:spPr>
          <a:xfrm>
            <a:off x="436561" y="981125"/>
            <a:ext cx="9865812" cy="35628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16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04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609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219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CL" dirty="0">
                <a:latin typeface="ACHS Nueva Sans Medium" pitchFamily="2" charset="77"/>
              </a:rPr>
              <a:t>Caso sospechoso de SCPH</a:t>
            </a:r>
            <a:endParaRPr lang="x-none" dirty="0">
              <a:latin typeface="ACHS Nueva Sans Medium" pitchFamily="2" charset="77"/>
            </a:endParaRPr>
          </a:p>
        </p:txBody>
      </p:sp>
      <p:sp>
        <p:nvSpPr>
          <p:cNvPr id="12" name="Marcador de texto 5">
            <a:extLst>
              <a:ext uri="{FF2B5EF4-FFF2-40B4-BE49-F238E27FC236}">
                <a16:creationId xmlns:a16="http://schemas.microsoft.com/office/drawing/2014/main" xmlns="" id="{C34760D0-66D0-D646-9F53-0F3BDA5B2980}"/>
              </a:ext>
            </a:extLst>
          </p:cNvPr>
          <p:cNvSpPr txBox="1">
            <a:spLocks/>
          </p:cNvSpPr>
          <p:nvPr/>
        </p:nvSpPr>
        <p:spPr>
          <a:xfrm>
            <a:off x="449261" y="1538289"/>
            <a:ext cx="3267974" cy="3970206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1600" b="0" i="0" u="none" strike="noStrike" cap="none" spc="0" baseline="0">
                <a:solidFill>
                  <a:schemeClr val="accent1"/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1pPr>
            <a:lvl2pPr marL="3048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6096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9144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2192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lnSpc>
                <a:spcPct val="100000"/>
              </a:lnSpc>
              <a:buClr>
                <a:schemeClr val="accent1"/>
              </a:buClr>
            </a:pPr>
            <a:r>
              <a:rPr lang="es-ES" sz="6000" b="1" dirty="0">
                <a:latin typeface="ACHS Nueva Sans Medium" pitchFamily="2" charset="77"/>
              </a:rPr>
              <a:t>MÁS:</a:t>
            </a:r>
            <a:endParaRPr lang="es-ES" dirty="0">
              <a:solidFill>
                <a:schemeClr val="accent3">
                  <a:lumMod val="75000"/>
                  <a:lumOff val="25000"/>
                </a:schemeClr>
              </a:solidFill>
              <a:latin typeface="ACHS Nueva Sans Medium" pitchFamily="2" charset="77"/>
            </a:endParaRPr>
          </a:p>
          <a:p>
            <a:pPr marL="285750" indent="-285750">
              <a:lnSpc>
                <a:spcPct val="100000"/>
              </a:lnSpc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dirty="0">
                <a:solidFill>
                  <a:schemeClr val="accent3">
                    <a:lumMod val="75000"/>
                    <a:lumOff val="25000"/>
                  </a:schemeClr>
                </a:solidFill>
                <a:latin typeface="ACHS Nueva Sans Medium" pitchFamily="2" charset="77"/>
              </a:rPr>
              <a:t>Antecedente de riesgo de exposición a roedores silvestres en las 6 semanas previas, o</a:t>
            </a:r>
          </a:p>
          <a:p>
            <a:pPr marL="285750" indent="-285750">
              <a:lnSpc>
                <a:spcPct val="100000"/>
              </a:lnSpc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dirty="0">
                <a:solidFill>
                  <a:schemeClr val="accent3">
                    <a:lumMod val="75000"/>
                    <a:lumOff val="25000"/>
                  </a:schemeClr>
                </a:solidFill>
                <a:latin typeface="ACHS Nueva Sans Medium" pitchFamily="2" charset="77"/>
              </a:rPr>
              <a:t>Persona sana con cuadro de distrés respiratorio agudo sin causa que lo explique.</a:t>
            </a:r>
          </a:p>
          <a:p>
            <a:pPr marL="285750" indent="-285750">
              <a:lnSpc>
                <a:spcPct val="100000"/>
              </a:lnSpc>
              <a:buClr>
                <a:schemeClr val="accent1"/>
              </a:buClr>
              <a:buFont typeface="Wingdings" pitchFamily="2" charset="2"/>
              <a:buChar char="§"/>
            </a:pPr>
            <a:endParaRPr lang="es-ES" dirty="0">
              <a:solidFill>
                <a:schemeClr val="accent3">
                  <a:lumMod val="75000"/>
                  <a:lumOff val="25000"/>
                </a:schemeClr>
              </a:solidFill>
              <a:latin typeface="ACHS Nueva Sans Medium" pitchFamily="2" charset="77"/>
            </a:endParaRPr>
          </a:p>
        </p:txBody>
      </p:sp>
      <p:sp>
        <p:nvSpPr>
          <p:cNvPr id="9" name="Marcador de texto 4">
            <a:extLst>
              <a:ext uri="{FF2B5EF4-FFF2-40B4-BE49-F238E27FC236}">
                <a16:creationId xmlns:a16="http://schemas.microsoft.com/office/drawing/2014/main" xmlns="" id="{869712B3-6FC2-8142-B70D-238096216E9C}"/>
              </a:ext>
            </a:extLst>
          </p:cNvPr>
          <p:cNvSpPr txBox="1">
            <a:spLocks/>
          </p:cNvSpPr>
          <p:nvPr/>
        </p:nvSpPr>
        <p:spPr>
          <a:xfrm>
            <a:off x="449262" y="496571"/>
            <a:ext cx="9865812" cy="52387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2000" b="0" kern="1200">
                <a:solidFill>
                  <a:schemeClr val="accent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04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609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219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CL" dirty="0">
                <a:latin typeface="ACHS Nueva Serif" pitchFamily="2" charset="77"/>
              </a:rPr>
              <a:t>Definición de caso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8923633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n 2">
            <a:extLst>
              <a:ext uri="{FF2B5EF4-FFF2-40B4-BE49-F238E27FC236}">
                <a16:creationId xmlns:a16="http://schemas.microsoft.com/office/drawing/2014/main" xmlns="" id="{517EED27-9514-5E47-8BA6-C0B1CE30B37A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428" t="8695" r="12382" b="2453"/>
          <a:stretch/>
        </p:blipFill>
        <p:spPr>
          <a:xfrm>
            <a:off x="4473574" y="1504998"/>
            <a:ext cx="7718426" cy="5353002"/>
          </a:xfrm>
          <a:prstGeom prst="rect">
            <a:avLst/>
          </a:prstGeom>
        </p:spPr>
      </p:pic>
      <p:sp>
        <p:nvSpPr>
          <p:cNvPr id="17" name="Text Placeholder 11">
            <a:extLst>
              <a:ext uri="{FF2B5EF4-FFF2-40B4-BE49-F238E27FC236}">
                <a16:creationId xmlns:a16="http://schemas.microsoft.com/office/drawing/2014/main" xmlns="" id="{8B8147D9-6C1A-C54D-BA01-71B865FA89C4}"/>
              </a:ext>
            </a:extLst>
          </p:cNvPr>
          <p:cNvSpPr txBox="1">
            <a:spLocks/>
          </p:cNvSpPr>
          <p:nvPr/>
        </p:nvSpPr>
        <p:spPr>
          <a:xfrm>
            <a:off x="436561" y="981125"/>
            <a:ext cx="9865812" cy="35628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16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04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609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219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CL" dirty="0">
                <a:latin typeface="ACHS Nueva Sans Medium" pitchFamily="2" charset="77"/>
              </a:rPr>
              <a:t>Caso sospechoso de SCPH</a:t>
            </a:r>
            <a:endParaRPr lang="x-none" dirty="0">
              <a:latin typeface="ACHS Nueva Sans Medium" pitchFamily="2" charset="77"/>
            </a:endParaRPr>
          </a:p>
        </p:txBody>
      </p:sp>
      <p:sp>
        <p:nvSpPr>
          <p:cNvPr id="12" name="Marcador de texto 5">
            <a:extLst>
              <a:ext uri="{FF2B5EF4-FFF2-40B4-BE49-F238E27FC236}">
                <a16:creationId xmlns:a16="http://schemas.microsoft.com/office/drawing/2014/main" xmlns="" id="{C34760D0-66D0-D646-9F53-0F3BDA5B2980}"/>
              </a:ext>
            </a:extLst>
          </p:cNvPr>
          <p:cNvSpPr txBox="1">
            <a:spLocks/>
          </p:cNvSpPr>
          <p:nvPr/>
        </p:nvSpPr>
        <p:spPr>
          <a:xfrm>
            <a:off x="449261" y="1538289"/>
            <a:ext cx="3029435" cy="3970206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1600" b="0" i="0" u="none" strike="noStrike" cap="none" spc="0" baseline="0">
                <a:solidFill>
                  <a:schemeClr val="accent1"/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1pPr>
            <a:lvl2pPr marL="3048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6096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9144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2192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lnSpc>
                <a:spcPct val="100000"/>
              </a:lnSpc>
              <a:buClr>
                <a:schemeClr val="accent1"/>
              </a:buClr>
            </a:pPr>
            <a:r>
              <a:rPr lang="es-ES" sz="6000" b="1" dirty="0">
                <a:latin typeface="ACHS Nueva Sans Medium" pitchFamily="2" charset="77"/>
              </a:rPr>
              <a:t>O:</a:t>
            </a:r>
            <a:endParaRPr lang="es-ES" dirty="0">
              <a:solidFill>
                <a:schemeClr val="accent3">
                  <a:lumMod val="75000"/>
                  <a:lumOff val="25000"/>
                </a:schemeClr>
              </a:solidFill>
              <a:latin typeface="ACHS Nueva Sans Medium" pitchFamily="2" charset="77"/>
            </a:endParaRPr>
          </a:p>
          <a:p>
            <a:pPr marL="285750" indent="-285750">
              <a:lnSpc>
                <a:spcPct val="100000"/>
              </a:lnSpc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dirty="0">
                <a:solidFill>
                  <a:schemeClr val="accent3">
                    <a:lumMod val="75000"/>
                    <a:lumOff val="25000"/>
                  </a:schemeClr>
                </a:solidFill>
                <a:latin typeface="ACHS Nueva Sans Medium" pitchFamily="2" charset="77"/>
              </a:rPr>
              <a:t>Cuadro respiratorio inexplicable con resultado de muerte en que la autopsia muestra edema pulmonar no carcinogénico si causa específica e identificable por laboratorio.</a:t>
            </a:r>
          </a:p>
        </p:txBody>
      </p:sp>
      <p:sp>
        <p:nvSpPr>
          <p:cNvPr id="9" name="Marcador de texto 4">
            <a:extLst>
              <a:ext uri="{FF2B5EF4-FFF2-40B4-BE49-F238E27FC236}">
                <a16:creationId xmlns:a16="http://schemas.microsoft.com/office/drawing/2014/main" xmlns="" id="{869712B3-6FC2-8142-B70D-238096216E9C}"/>
              </a:ext>
            </a:extLst>
          </p:cNvPr>
          <p:cNvSpPr txBox="1">
            <a:spLocks/>
          </p:cNvSpPr>
          <p:nvPr/>
        </p:nvSpPr>
        <p:spPr>
          <a:xfrm>
            <a:off x="449262" y="496571"/>
            <a:ext cx="9865812" cy="52387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2000" b="0" kern="1200">
                <a:solidFill>
                  <a:schemeClr val="accent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04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609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219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CL" dirty="0">
                <a:latin typeface="ACHS Nueva Serif" pitchFamily="2" charset="77"/>
              </a:rPr>
              <a:t>Definición de caso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1922989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n 9">
            <a:extLst>
              <a:ext uri="{FF2B5EF4-FFF2-40B4-BE49-F238E27FC236}">
                <a16:creationId xmlns:a16="http://schemas.microsoft.com/office/drawing/2014/main" xmlns="" id="{E89D524E-5581-4141-AA57-468BB7F2830B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29" t="12233" r="24185" b="22829"/>
          <a:stretch/>
        </p:blipFill>
        <p:spPr>
          <a:xfrm>
            <a:off x="4473573" y="1504998"/>
            <a:ext cx="7718427" cy="5353001"/>
          </a:xfrm>
          <a:prstGeom prst="rect">
            <a:avLst/>
          </a:prstGeom>
        </p:spPr>
      </p:pic>
      <p:sp>
        <p:nvSpPr>
          <p:cNvPr id="17" name="Text Placeholder 11">
            <a:extLst>
              <a:ext uri="{FF2B5EF4-FFF2-40B4-BE49-F238E27FC236}">
                <a16:creationId xmlns:a16="http://schemas.microsoft.com/office/drawing/2014/main" xmlns="" id="{8B8147D9-6C1A-C54D-BA01-71B865FA89C4}"/>
              </a:ext>
            </a:extLst>
          </p:cNvPr>
          <p:cNvSpPr txBox="1">
            <a:spLocks/>
          </p:cNvSpPr>
          <p:nvPr/>
        </p:nvSpPr>
        <p:spPr>
          <a:xfrm>
            <a:off x="436561" y="981125"/>
            <a:ext cx="9865812" cy="35628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16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04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609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219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CL" dirty="0">
                <a:latin typeface="ACHS Nueva Sans Medium" pitchFamily="2" charset="77"/>
              </a:rPr>
              <a:t>Caso confirmado de SCPH</a:t>
            </a:r>
            <a:endParaRPr lang="x-none" dirty="0">
              <a:latin typeface="ACHS Nueva Sans Medium" pitchFamily="2" charset="77"/>
            </a:endParaRPr>
          </a:p>
        </p:txBody>
      </p:sp>
      <p:sp>
        <p:nvSpPr>
          <p:cNvPr id="12" name="Marcador de texto 5">
            <a:extLst>
              <a:ext uri="{FF2B5EF4-FFF2-40B4-BE49-F238E27FC236}">
                <a16:creationId xmlns:a16="http://schemas.microsoft.com/office/drawing/2014/main" xmlns="" id="{C34760D0-66D0-D646-9F53-0F3BDA5B2980}"/>
              </a:ext>
            </a:extLst>
          </p:cNvPr>
          <p:cNvSpPr txBox="1">
            <a:spLocks/>
          </p:cNvSpPr>
          <p:nvPr/>
        </p:nvSpPr>
        <p:spPr>
          <a:xfrm>
            <a:off x="449261" y="1538289"/>
            <a:ext cx="3287852" cy="482314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1600" b="0" i="0" u="none" strike="noStrike" cap="none" spc="0" baseline="0">
                <a:solidFill>
                  <a:schemeClr val="accent1"/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1pPr>
            <a:lvl2pPr marL="3048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6096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9144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2192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lnSpc>
                <a:spcPct val="100000"/>
              </a:lnSpc>
              <a:buClr>
                <a:schemeClr val="accent1"/>
              </a:buClr>
            </a:pPr>
            <a:r>
              <a:rPr lang="es-ES" dirty="0">
                <a:solidFill>
                  <a:schemeClr val="accent3">
                    <a:lumMod val="75000"/>
                    <a:lumOff val="25000"/>
                  </a:schemeClr>
                </a:solidFill>
                <a:latin typeface="ACHS Nueva Sans Medium" pitchFamily="2" charset="77"/>
              </a:rPr>
              <a:t>Caso sospechoso confirmado por laboratorio de referencia (ISP), demuestra infección agudo por Hantavirus (IgM +). Se clasifica en:</a:t>
            </a:r>
          </a:p>
          <a:p>
            <a:pPr>
              <a:lnSpc>
                <a:spcPct val="100000"/>
              </a:lnSpc>
              <a:buClr>
                <a:schemeClr val="accent1"/>
              </a:buClr>
            </a:pPr>
            <a:r>
              <a:rPr lang="es-ES" b="1" dirty="0">
                <a:latin typeface="ACHS Nueva Sans Medium" pitchFamily="2" charset="77"/>
              </a:rPr>
              <a:t>Enfermedad leve por Hantavirus:</a:t>
            </a:r>
          </a:p>
          <a:p>
            <a:pPr marL="285750" indent="-285750">
              <a:lnSpc>
                <a:spcPct val="100000"/>
              </a:lnSpc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dirty="0">
                <a:solidFill>
                  <a:schemeClr val="accent3">
                    <a:lumMod val="75000"/>
                    <a:lumOff val="25000"/>
                  </a:schemeClr>
                </a:solidFill>
                <a:latin typeface="ACHS Nueva Sans Medium" pitchFamily="2" charset="77"/>
              </a:rPr>
              <a:t>Persona sana con cuadro febril y síntomas como cefalea, mialgias, escalofríos, con o sin síntomas gastrointestinales, evoluciona sin complicaciones pulmonares sin requerimiento de oxígeno y con radiología normal.</a:t>
            </a:r>
          </a:p>
        </p:txBody>
      </p:sp>
      <p:sp>
        <p:nvSpPr>
          <p:cNvPr id="9" name="Marcador de texto 4">
            <a:extLst>
              <a:ext uri="{FF2B5EF4-FFF2-40B4-BE49-F238E27FC236}">
                <a16:creationId xmlns:a16="http://schemas.microsoft.com/office/drawing/2014/main" xmlns="" id="{869712B3-6FC2-8142-B70D-238096216E9C}"/>
              </a:ext>
            </a:extLst>
          </p:cNvPr>
          <p:cNvSpPr txBox="1">
            <a:spLocks/>
          </p:cNvSpPr>
          <p:nvPr/>
        </p:nvSpPr>
        <p:spPr>
          <a:xfrm>
            <a:off x="449262" y="496571"/>
            <a:ext cx="9865812" cy="52387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2000" b="0" kern="1200">
                <a:solidFill>
                  <a:schemeClr val="accent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04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609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219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CL" dirty="0">
                <a:latin typeface="ACHS Nueva Serif" pitchFamily="2" charset="77"/>
              </a:rPr>
              <a:t>Definición de caso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2489367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n 2">
            <a:extLst>
              <a:ext uri="{FF2B5EF4-FFF2-40B4-BE49-F238E27FC236}">
                <a16:creationId xmlns:a16="http://schemas.microsoft.com/office/drawing/2014/main" xmlns="" id="{C03C01AC-0C80-B545-8A0E-11B025637FED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757" r="2431" b="22068"/>
          <a:stretch/>
        </p:blipFill>
        <p:spPr>
          <a:xfrm>
            <a:off x="4473572" y="1538288"/>
            <a:ext cx="7718428" cy="5353002"/>
          </a:xfrm>
          <a:prstGeom prst="rect">
            <a:avLst/>
          </a:prstGeom>
        </p:spPr>
      </p:pic>
      <p:sp>
        <p:nvSpPr>
          <p:cNvPr id="17" name="Text Placeholder 11">
            <a:extLst>
              <a:ext uri="{FF2B5EF4-FFF2-40B4-BE49-F238E27FC236}">
                <a16:creationId xmlns:a16="http://schemas.microsoft.com/office/drawing/2014/main" xmlns="" id="{8B8147D9-6C1A-C54D-BA01-71B865FA89C4}"/>
              </a:ext>
            </a:extLst>
          </p:cNvPr>
          <p:cNvSpPr txBox="1">
            <a:spLocks/>
          </p:cNvSpPr>
          <p:nvPr/>
        </p:nvSpPr>
        <p:spPr>
          <a:xfrm>
            <a:off x="436561" y="981125"/>
            <a:ext cx="9865812" cy="35628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16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04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609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219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CL" dirty="0">
                <a:latin typeface="ACHS Nueva Sans Medium" pitchFamily="2" charset="77"/>
              </a:rPr>
              <a:t>Caso confirmado de SCPH</a:t>
            </a:r>
            <a:endParaRPr lang="x-none" dirty="0">
              <a:latin typeface="ACHS Nueva Sans Medium" pitchFamily="2" charset="77"/>
            </a:endParaRPr>
          </a:p>
        </p:txBody>
      </p:sp>
      <p:sp>
        <p:nvSpPr>
          <p:cNvPr id="12" name="Marcador de texto 5">
            <a:extLst>
              <a:ext uri="{FF2B5EF4-FFF2-40B4-BE49-F238E27FC236}">
                <a16:creationId xmlns:a16="http://schemas.microsoft.com/office/drawing/2014/main" xmlns="" id="{C34760D0-66D0-D646-9F53-0F3BDA5B2980}"/>
              </a:ext>
            </a:extLst>
          </p:cNvPr>
          <p:cNvSpPr txBox="1">
            <a:spLocks/>
          </p:cNvSpPr>
          <p:nvPr/>
        </p:nvSpPr>
        <p:spPr>
          <a:xfrm>
            <a:off x="449262" y="1538288"/>
            <a:ext cx="3466756" cy="4723363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1600" b="0" i="0" u="none" strike="noStrike" cap="none" spc="0" baseline="0">
                <a:solidFill>
                  <a:schemeClr val="accent1"/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1pPr>
            <a:lvl2pPr marL="3048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6096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9144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2192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lnSpc>
                <a:spcPct val="100000"/>
              </a:lnSpc>
              <a:spcBef>
                <a:spcPts val="1050"/>
              </a:spcBef>
              <a:buClr>
                <a:schemeClr val="accent1"/>
              </a:buClr>
            </a:pPr>
            <a:r>
              <a:rPr lang="es-ES" b="1" dirty="0">
                <a:latin typeface="ACHS Nueva Sans Medium" pitchFamily="2" charset="77"/>
              </a:rPr>
              <a:t>Síndrome cardiopulmonar por Hantavirus:</a:t>
            </a:r>
          </a:p>
          <a:p>
            <a:pPr marL="285750" indent="-285750">
              <a:lnSpc>
                <a:spcPct val="100000"/>
              </a:lnSpc>
              <a:spcBef>
                <a:spcPts val="105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dirty="0">
                <a:solidFill>
                  <a:schemeClr val="accent3">
                    <a:lumMod val="75000"/>
                    <a:lumOff val="25000"/>
                  </a:schemeClr>
                </a:solidFill>
                <a:latin typeface="ACHS Nueva Sans Medium" pitchFamily="2" charset="77"/>
              </a:rPr>
              <a:t>Con síntoma febril con mialgia y/o cefalea y/o síntomas GI, seguido de distrés respiratorio, sin causa que lo explique, con Rx tórax con edema intersticial difuso que asemeja síndrome respiratorio agudo que requiere oxigenación suplementaria.</a:t>
            </a:r>
          </a:p>
          <a:p>
            <a:pPr>
              <a:lnSpc>
                <a:spcPct val="100000"/>
              </a:lnSpc>
              <a:spcBef>
                <a:spcPts val="1050"/>
              </a:spcBef>
              <a:buClr>
                <a:schemeClr val="accent1"/>
              </a:buClr>
            </a:pPr>
            <a:r>
              <a:rPr lang="es-ES" b="1" dirty="0">
                <a:latin typeface="ACHS Nueva Sans Medium" pitchFamily="2" charset="77"/>
              </a:rPr>
              <a:t>Caso asintomático:</a:t>
            </a:r>
          </a:p>
          <a:p>
            <a:pPr marL="285750" indent="-285750">
              <a:lnSpc>
                <a:spcPct val="100000"/>
              </a:lnSpc>
              <a:spcBef>
                <a:spcPts val="105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dirty="0">
                <a:solidFill>
                  <a:schemeClr val="accent3">
                    <a:lumMod val="75000"/>
                    <a:lumOff val="25000"/>
                  </a:schemeClr>
                </a:solidFill>
                <a:latin typeface="ACHS Nueva Sans Medium" pitchFamily="2" charset="77"/>
              </a:rPr>
              <a:t>Personal con IgM + que evidencia serología de infección aguda por Hantavirus que no tuvo síntomas de enfermedad y que su hallazgo se realiza en la investigación epidemiológica de un caso.</a:t>
            </a:r>
          </a:p>
        </p:txBody>
      </p:sp>
      <p:sp>
        <p:nvSpPr>
          <p:cNvPr id="9" name="Marcador de texto 4">
            <a:extLst>
              <a:ext uri="{FF2B5EF4-FFF2-40B4-BE49-F238E27FC236}">
                <a16:creationId xmlns:a16="http://schemas.microsoft.com/office/drawing/2014/main" xmlns="" id="{869712B3-6FC2-8142-B70D-238096216E9C}"/>
              </a:ext>
            </a:extLst>
          </p:cNvPr>
          <p:cNvSpPr txBox="1">
            <a:spLocks/>
          </p:cNvSpPr>
          <p:nvPr/>
        </p:nvSpPr>
        <p:spPr>
          <a:xfrm>
            <a:off x="449262" y="496571"/>
            <a:ext cx="9865812" cy="52387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2000" b="0" kern="1200">
                <a:solidFill>
                  <a:schemeClr val="accent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04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609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219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CL" dirty="0">
                <a:latin typeface="ACHS Nueva Serif" pitchFamily="2" charset="77"/>
              </a:rPr>
              <a:t>Definición de caso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4728765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agen 10">
            <a:extLst>
              <a:ext uri="{FF2B5EF4-FFF2-40B4-BE49-F238E27FC236}">
                <a16:creationId xmlns:a16="http://schemas.microsoft.com/office/drawing/2014/main" xmlns="" id="{D68E13F3-F189-1B46-A939-72AE076C6EDB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00" t="2779" r="6009" b="7891"/>
          <a:stretch/>
        </p:blipFill>
        <p:spPr>
          <a:xfrm>
            <a:off x="4486274" y="1504996"/>
            <a:ext cx="7718428" cy="5386294"/>
          </a:xfrm>
          <a:prstGeom prst="rect">
            <a:avLst/>
          </a:prstGeom>
        </p:spPr>
      </p:pic>
      <p:sp>
        <p:nvSpPr>
          <p:cNvPr id="17" name="Text Placeholder 11">
            <a:extLst>
              <a:ext uri="{FF2B5EF4-FFF2-40B4-BE49-F238E27FC236}">
                <a16:creationId xmlns:a16="http://schemas.microsoft.com/office/drawing/2014/main" xmlns="" id="{8B8147D9-6C1A-C54D-BA01-71B865FA89C4}"/>
              </a:ext>
            </a:extLst>
          </p:cNvPr>
          <p:cNvSpPr txBox="1">
            <a:spLocks/>
          </p:cNvSpPr>
          <p:nvPr/>
        </p:nvSpPr>
        <p:spPr>
          <a:xfrm>
            <a:off x="436561" y="981125"/>
            <a:ext cx="9865812" cy="35628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16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04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609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219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CL" dirty="0">
                <a:latin typeface="ACHS Nueva Sans Medium" pitchFamily="2" charset="77"/>
              </a:rPr>
              <a:t>Caso confirmado de SCPH</a:t>
            </a:r>
            <a:endParaRPr lang="x-none" dirty="0">
              <a:latin typeface="ACHS Nueva Sans Medium" pitchFamily="2" charset="77"/>
            </a:endParaRPr>
          </a:p>
        </p:txBody>
      </p:sp>
      <p:sp>
        <p:nvSpPr>
          <p:cNvPr id="12" name="Marcador de texto 5">
            <a:extLst>
              <a:ext uri="{FF2B5EF4-FFF2-40B4-BE49-F238E27FC236}">
                <a16:creationId xmlns:a16="http://schemas.microsoft.com/office/drawing/2014/main" xmlns="" id="{C34760D0-66D0-D646-9F53-0F3BDA5B2980}"/>
              </a:ext>
            </a:extLst>
          </p:cNvPr>
          <p:cNvSpPr txBox="1">
            <a:spLocks/>
          </p:cNvSpPr>
          <p:nvPr/>
        </p:nvSpPr>
        <p:spPr>
          <a:xfrm>
            <a:off x="449260" y="1538289"/>
            <a:ext cx="3592803" cy="482314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1600" b="0" i="0" u="none" strike="noStrike" cap="none" spc="0" baseline="0">
                <a:solidFill>
                  <a:schemeClr val="accent1"/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1pPr>
            <a:lvl2pPr marL="3048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6096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9144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2192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285750" indent="-285750">
              <a:lnSpc>
                <a:spcPct val="100000"/>
              </a:lnSpc>
              <a:spcBef>
                <a:spcPts val="80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dirty="0">
                <a:solidFill>
                  <a:schemeClr val="accent3">
                    <a:lumMod val="75000"/>
                    <a:lumOff val="25000"/>
                  </a:schemeClr>
                </a:solidFill>
                <a:latin typeface="ACHS Nueva Sans Medium" pitchFamily="2" charset="77"/>
              </a:rPr>
              <a:t>Detección precoz del caso sospechoso.</a:t>
            </a:r>
          </a:p>
          <a:p>
            <a:pPr marL="285750" indent="-285750">
              <a:lnSpc>
                <a:spcPct val="100000"/>
              </a:lnSpc>
              <a:spcBef>
                <a:spcPts val="80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dirty="0">
                <a:solidFill>
                  <a:schemeClr val="accent3">
                    <a:lumMod val="75000"/>
                    <a:lumOff val="25000"/>
                  </a:schemeClr>
                </a:solidFill>
                <a:latin typeface="ACHS Nueva Sans Medium" pitchFamily="2" charset="77"/>
              </a:rPr>
              <a:t>Hospitalización inmediata: Toma muestra y envío.</a:t>
            </a:r>
          </a:p>
          <a:p>
            <a:pPr marL="285750" indent="-285750">
              <a:lnSpc>
                <a:spcPct val="100000"/>
              </a:lnSpc>
              <a:spcBef>
                <a:spcPts val="80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dirty="0">
                <a:solidFill>
                  <a:schemeClr val="accent3">
                    <a:lumMod val="75000"/>
                    <a:lumOff val="25000"/>
                  </a:schemeClr>
                </a:solidFill>
                <a:latin typeface="ACHS Nueva Sans Medium" pitchFamily="2" charset="77"/>
              </a:rPr>
              <a:t>Notificación inmediata del caso</a:t>
            </a:r>
            <a:r>
              <a:rPr lang="es-ES" dirty="0" smtClean="0">
                <a:solidFill>
                  <a:schemeClr val="accent3">
                    <a:lumMod val="75000"/>
                    <a:lumOff val="25000"/>
                  </a:schemeClr>
                </a:solidFill>
                <a:latin typeface="ACHS Nueva Sans Medium" pitchFamily="2" charset="77"/>
              </a:rPr>
              <a:t>.</a:t>
            </a:r>
          </a:p>
          <a:p>
            <a:pPr marL="285750" indent="-285750">
              <a:lnSpc>
                <a:spcPct val="100000"/>
              </a:lnSpc>
              <a:spcBef>
                <a:spcPts val="800"/>
              </a:spcBef>
              <a:buClr>
                <a:schemeClr val="accent1"/>
              </a:buClr>
              <a:buFont typeface="Wingdings" pitchFamily="2" charset="2"/>
              <a:buChar char="§"/>
            </a:pPr>
            <a:endParaRPr lang="es-ES" dirty="0">
              <a:solidFill>
                <a:schemeClr val="accent3">
                  <a:lumMod val="75000"/>
                  <a:lumOff val="25000"/>
                </a:schemeClr>
              </a:solidFill>
              <a:latin typeface="ACHS Nueva Sans Medium" pitchFamily="2" charset="77"/>
            </a:endParaRPr>
          </a:p>
          <a:p>
            <a:pPr>
              <a:lnSpc>
                <a:spcPct val="100000"/>
              </a:lnSpc>
              <a:spcBef>
                <a:spcPts val="800"/>
              </a:spcBef>
              <a:buClr>
                <a:schemeClr val="accent1"/>
              </a:buClr>
            </a:pPr>
            <a:r>
              <a:rPr lang="es-ES" b="1" dirty="0">
                <a:latin typeface="ACHS Nueva Sans Medium" pitchFamily="2" charset="77"/>
              </a:rPr>
              <a:t>Investigación Epidemiológica: </a:t>
            </a:r>
          </a:p>
          <a:p>
            <a:pPr marL="285750" indent="-285750">
              <a:lnSpc>
                <a:spcPct val="100000"/>
              </a:lnSpc>
              <a:spcBef>
                <a:spcPts val="80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dirty="0">
                <a:solidFill>
                  <a:schemeClr val="accent3">
                    <a:lumMod val="75000"/>
                    <a:lumOff val="25000"/>
                  </a:schemeClr>
                </a:solidFill>
                <a:latin typeface="ACHS Nueva Sans Medium" pitchFamily="2" charset="77"/>
              </a:rPr>
              <a:t>Evaluar factores de riesgo y exposición individual.</a:t>
            </a:r>
          </a:p>
          <a:p>
            <a:pPr marL="285750" indent="-285750">
              <a:lnSpc>
                <a:spcPct val="100000"/>
              </a:lnSpc>
              <a:spcBef>
                <a:spcPts val="80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dirty="0">
                <a:solidFill>
                  <a:schemeClr val="accent3">
                    <a:lumMod val="75000"/>
                    <a:lumOff val="25000"/>
                  </a:schemeClr>
                </a:solidFill>
                <a:latin typeface="ACHS Nueva Sans Medium" pitchFamily="2" charset="77"/>
              </a:rPr>
              <a:t>Búsqueda posibles fuentes de infección.</a:t>
            </a:r>
          </a:p>
          <a:p>
            <a:pPr marL="285750" indent="-285750">
              <a:lnSpc>
                <a:spcPct val="100000"/>
              </a:lnSpc>
              <a:spcBef>
                <a:spcPts val="80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dirty="0">
                <a:solidFill>
                  <a:schemeClr val="accent3">
                    <a:lumMod val="75000"/>
                    <a:lumOff val="25000"/>
                  </a:schemeClr>
                </a:solidFill>
                <a:latin typeface="ACHS Nueva Sans Medium" pitchFamily="2" charset="77"/>
              </a:rPr>
              <a:t>Evaluación contactos expuestos al riesgo.</a:t>
            </a:r>
          </a:p>
          <a:p>
            <a:pPr marL="285750" indent="-285750">
              <a:lnSpc>
                <a:spcPct val="100000"/>
              </a:lnSpc>
              <a:spcBef>
                <a:spcPts val="80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dirty="0">
                <a:solidFill>
                  <a:schemeClr val="accent3">
                    <a:lumMod val="75000"/>
                    <a:lumOff val="25000"/>
                  </a:schemeClr>
                </a:solidFill>
                <a:latin typeface="ACHS Nueva Sans Medium" pitchFamily="2" charset="77"/>
              </a:rPr>
              <a:t>Evaluación ecológica/ambiental.</a:t>
            </a:r>
          </a:p>
          <a:p>
            <a:pPr marL="285750" indent="-285750">
              <a:lnSpc>
                <a:spcPct val="100000"/>
              </a:lnSpc>
              <a:spcBef>
                <a:spcPts val="80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dirty="0">
                <a:solidFill>
                  <a:schemeClr val="accent3">
                    <a:lumMod val="75000"/>
                    <a:lumOff val="25000"/>
                  </a:schemeClr>
                </a:solidFill>
                <a:latin typeface="ACHS Nueva Sans Medium" pitchFamily="2" charset="77"/>
              </a:rPr>
              <a:t>Tomar medidas para detener brote si se define como tal.</a:t>
            </a:r>
          </a:p>
        </p:txBody>
      </p:sp>
      <p:sp>
        <p:nvSpPr>
          <p:cNvPr id="9" name="Marcador de texto 4">
            <a:extLst>
              <a:ext uri="{FF2B5EF4-FFF2-40B4-BE49-F238E27FC236}">
                <a16:creationId xmlns:a16="http://schemas.microsoft.com/office/drawing/2014/main" xmlns="" id="{869712B3-6FC2-8142-B70D-238096216E9C}"/>
              </a:ext>
            </a:extLst>
          </p:cNvPr>
          <p:cNvSpPr txBox="1">
            <a:spLocks/>
          </p:cNvSpPr>
          <p:nvPr/>
        </p:nvSpPr>
        <p:spPr>
          <a:xfrm>
            <a:off x="449262" y="496571"/>
            <a:ext cx="9865812" cy="52387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2000" b="0" kern="1200">
                <a:solidFill>
                  <a:schemeClr val="accent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04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609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219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CL" dirty="0">
                <a:latin typeface="ACHS Nueva Serif" pitchFamily="2" charset="77"/>
              </a:rPr>
              <a:t>Investigación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6690998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Marcador de texto 4">
            <a:extLst>
              <a:ext uri="{FF2B5EF4-FFF2-40B4-BE49-F238E27FC236}">
                <a16:creationId xmlns:a16="http://schemas.microsoft.com/office/drawing/2014/main" xmlns="" id="{869712B3-6FC2-8142-B70D-238096216E9C}"/>
              </a:ext>
            </a:extLst>
          </p:cNvPr>
          <p:cNvSpPr txBox="1">
            <a:spLocks/>
          </p:cNvSpPr>
          <p:nvPr/>
        </p:nvSpPr>
        <p:spPr>
          <a:xfrm>
            <a:off x="449262" y="496571"/>
            <a:ext cx="9865812" cy="52387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2000" b="0" kern="1200">
                <a:solidFill>
                  <a:schemeClr val="accent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04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609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219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CL" dirty="0">
                <a:latin typeface="ACHS Nueva Serif" pitchFamily="2" charset="77"/>
              </a:rPr>
              <a:t>Prevención de la infección</a:t>
            </a:r>
          </a:p>
        </p:txBody>
      </p:sp>
      <p:pic>
        <p:nvPicPr>
          <p:cNvPr id="10" name="Imagen 9">
            <a:extLst>
              <a:ext uri="{FF2B5EF4-FFF2-40B4-BE49-F238E27FC236}">
                <a16:creationId xmlns:a16="http://schemas.microsoft.com/office/drawing/2014/main" xmlns="" id="{2430933B-640D-FD40-BB17-764A1D484B5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864186" y="1984480"/>
            <a:ext cx="4193494" cy="4873520"/>
          </a:xfrm>
          <a:prstGeom prst="rect">
            <a:avLst/>
          </a:prstGeom>
        </p:spPr>
      </p:pic>
      <p:sp>
        <p:nvSpPr>
          <p:cNvPr id="13" name="Marcador de texto 31">
            <a:extLst>
              <a:ext uri="{FF2B5EF4-FFF2-40B4-BE49-F238E27FC236}">
                <a16:creationId xmlns:a16="http://schemas.microsoft.com/office/drawing/2014/main" xmlns="" id="{2EB912D2-EAF8-8F40-B367-0D0446BE6CFD}"/>
              </a:ext>
            </a:extLst>
          </p:cNvPr>
          <p:cNvSpPr txBox="1">
            <a:spLocks/>
          </p:cNvSpPr>
          <p:nvPr/>
        </p:nvSpPr>
        <p:spPr>
          <a:xfrm>
            <a:off x="1062110" y="1534537"/>
            <a:ext cx="6627715" cy="3528392"/>
          </a:xfrm>
          <a:prstGeom prst="rect">
            <a:avLst/>
          </a:prstGeom>
        </p:spPr>
        <p:txBody>
          <a:bodyPr>
            <a:noAutofit/>
          </a:bodyPr>
          <a:lstStyle>
            <a:defPPr>
              <a:defRPr lang="es-CL"/>
            </a:defPPr>
            <a:lvl1pPr marR="0" indent="0" defTabSz="1597354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3B827"/>
              </a:buClr>
              <a:buSzPct val="100000"/>
              <a:buFontTx/>
              <a:buNone/>
              <a:tabLst/>
              <a:defRPr sz="2200" b="1" i="0" u="none" strike="noStrike" kern="0" cap="none" spc="0" baseline="0">
                <a:solidFill>
                  <a:srgbClr val="8A8A8A">
                    <a:lumMod val="75000"/>
                  </a:srgbClr>
                </a:solidFill>
                <a:uFillTx/>
                <a:latin typeface="Arial"/>
                <a:ea typeface="Arial"/>
                <a:cs typeface="Arial"/>
              </a:defRPr>
            </a:lvl1pPr>
            <a:lvl2pPr marL="1465196" marR="0" indent="-1065596" defTabSz="1597354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</a:defRPr>
            </a:lvl2pPr>
            <a:lvl3pPr marL="1864794" marR="0" indent="-1065596" defTabSz="1597354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</a:defRPr>
            </a:lvl3pPr>
            <a:lvl4pPr marL="2264393" marR="0" indent="-1065596" defTabSz="1597354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</a:defRPr>
            </a:lvl4pPr>
            <a:lvl5pPr marL="2663992" marR="0" indent="-1065596" defTabSz="1597354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</a:defRPr>
            </a:lvl5pPr>
            <a:lvl6pPr marL="2963690" marR="0" indent="-1065596" defTabSz="1597354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</a:defRPr>
            </a:lvl6pPr>
            <a:lvl7pPr marL="3263389" marR="0" indent="-1065596" defTabSz="1597354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</a:defRPr>
            </a:lvl7pPr>
            <a:lvl8pPr marL="3563089" marR="0" indent="-1065596" defTabSz="1597354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</a:defRPr>
            </a:lvl8pPr>
            <a:lvl9pPr marL="3862787" marR="0" indent="-1065596" defTabSz="1597354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</a:defRPr>
            </a:lvl9pPr>
          </a:lstStyle>
          <a:p>
            <a:pPr algn="just"/>
            <a:endParaRPr lang="es-CL" sz="2400" b="0" dirty="0">
              <a:solidFill>
                <a:schemeClr val="tx1"/>
              </a:solidFill>
              <a:latin typeface="ACHS Nueva Sans Medium" pitchFamily="2" charset="77"/>
            </a:endParaRPr>
          </a:p>
          <a:p>
            <a:pPr algn="just"/>
            <a:r>
              <a:rPr lang="es-CL" sz="2400" b="0" dirty="0">
                <a:solidFill>
                  <a:schemeClr val="tx1"/>
                </a:solidFill>
                <a:latin typeface="ACHS Nueva Sans Medium" pitchFamily="2" charset="77"/>
              </a:rPr>
              <a:t>Control de roedores dentro de la vivienda</a:t>
            </a:r>
          </a:p>
          <a:p>
            <a:pPr algn="just"/>
            <a:endParaRPr lang="es-CL" sz="2400" b="0" dirty="0">
              <a:solidFill>
                <a:schemeClr val="tx1"/>
              </a:solidFill>
              <a:latin typeface="ACHS Nueva Sans Medium" pitchFamily="2" charset="77"/>
            </a:endParaRPr>
          </a:p>
          <a:p>
            <a:pPr algn="just"/>
            <a:r>
              <a:rPr lang="es-CL" sz="2400" b="0" dirty="0">
                <a:solidFill>
                  <a:schemeClr val="tx1"/>
                </a:solidFill>
                <a:latin typeface="ACHS Nueva Sans Medium" pitchFamily="2" charset="77"/>
              </a:rPr>
              <a:t>Control de roedores en el exterior</a:t>
            </a:r>
          </a:p>
          <a:p>
            <a:pPr algn="just"/>
            <a:endParaRPr lang="es-CL" sz="2400" b="0" dirty="0">
              <a:solidFill>
                <a:schemeClr val="tx1"/>
              </a:solidFill>
              <a:latin typeface="ACHS Nueva Sans Medium" pitchFamily="2" charset="77"/>
            </a:endParaRPr>
          </a:p>
          <a:p>
            <a:pPr algn="just"/>
            <a:r>
              <a:rPr lang="es-CL" sz="2400" b="0" dirty="0">
                <a:solidFill>
                  <a:schemeClr val="tx1"/>
                </a:solidFill>
                <a:latin typeface="ACHS Nueva Sans Medium" pitchFamily="2" charset="77"/>
              </a:rPr>
              <a:t>Elementos de protección</a:t>
            </a:r>
          </a:p>
        </p:txBody>
      </p:sp>
      <p:sp>
        <p:nvSpPr>
          <p:cNvPr id="14" name="Marcador de texto 31">
            <a:extLst>
              <a:ext uri="{FF2B5EF4-FFF2-40B4-BE49-F238E27FC236}">
                <a16:creationId xmlns:a16="http://schemas.microsoft.com/office/drawing/2014/main" xmlns="" id="{47B308CD-7596-764C-923A-2C86C6D2D7A2}"/>
              </a:ext>
            </a:extLst>
          </p:cNvPr>
          <p:cNvSpPr txBox="1">
            <a:spLocks/>
          </p:cNvSpPr>
          <p:nvPr/>
        </p:nvSpPr>
        <p:spPr>
          <a:xfrm>
            <a:off x="449262" y="1751660"/>
            <a:ext cx="1184008" cy="2664296"/>
          </a:xfrm>
          <a:prstGeom prst="rect">
            <a:avLst/>
          </a:prstGeom>
        </p:spPr>
        <p:txBody>
          <a:bodyPr>
            <a:noAutofit/>
          </a:bodyPr>
          <a:lstStyle>
            <a:defPPr>
              <a:defRPr lang="es-CL"/>
            </a:defPPr>
            <a:lvl1pPr marR="0" indent="0" defTabSz="1597354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3B827"/>
              </a:buClr>
              <a:buSzPct val="100000"/>
              <a:buFontTx/>
              <a:buNone/>
              <a:tabLst/>
              <a:defRPr sz="2200" b="1" i="0" u="none" strike="noStrike" kern="0" cap="none" spc="0" baseline="0">
                <a:solidFill>
                  <a:srgbClr val="8A8A8A">
                    <a:lumMod val="75000"/>
                  </a:srgbClr>
                </a:solidFill>
                <a:uFillTx/>
                <a:latin typeface="Arial"/>
                <a:ea typeface="Arial"/>
                <a:cs typeface="Arial"/>
              </a:defRPr>
            </a:lvl1pPr>
            <a:lvl2pPr marL="1465196" marR="0" indent="-1065596" defTabSz="1597354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</a:defRPr>
            </a:lvl2pPr>
            <a:lvl3pPr marL="1864794" marR="0" indent="-1065596" defTabSz="1597354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</a:defRPr>
            </a:lvl3pPr>
            <a:lvl4pPr marL="2264393" marR="0" indent="-1065596" defTabSz="1597354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</a:defRPr>
            </a:lvl4pPr>
            <a:lvl5pPr marL="2663992" marR="0" indent="-1065596" defTabSz="1597354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</a:defRPr>
            </a:lvl5pPr>
            <a:lvl6pPr marL="2963690" marR="0" indent="-1065596" defTabSz="1597354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</a:defRPr>
            </a:lvl6pPr>
            <a:lvl7pPr marL="3263389" marR="0" indent="-1065596" defTabSz="1597354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</a:defRPr>
            </a:lvl7pPr>
            <a:lvl8pPr marL="3563089" marR="0" indent="-1065596" defTabSz="1597354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</a:defRPr>
            </a:lvl8pPr>
            <a:lvl9pPr marL="3862787" marR="0" indent="-1065596" defTabSz="1597354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</a:defRPr>
            </a:lvl9pPr>
          </a:lstStyle>
          <a:p>
            <a:pPr algn="just"/>
            <a:r>
              <a:rPr lang="es-ES" sz="4800" dirty="0">
                <a:solidFill>
                  <a:schemeClr val="accent1"/>
                </a:solidFill>
                <a:latin typeface="ACHS Nueva Sans" pitchFamily="2" charset="77"/>
              </a:rPr>
              <a:t>1</a:t>
            </a:r>
          </a:p>
          <a:p>
            <a:pPr algn="just"/>
            <a:r>
              <a:rPr lang="es-ES" sz="4800" dirty="0">
                <a:solidFill>
                  <a:schemeClr val="accent1"/>
                </a:solidFill>
                <a:latin typeface="ACHS Nueva Sans" pitchFamily="2" charset="77"/>
              </a:rPr>
              <a:t>2</a:t>
            </a:r>
          </a:p>
          <a:p>
            <a:pPr algn="just"/>
            <a:r>
              <a:rPr lang="es-ES" sz="4800" dirty="0">
                <a:solidFill>
                  <a:schemeClr val="accent1"/>
                </a:solidFill>
                <a:latin typeface="ACHS Nueva Sans" pitchFamily="2" charset="77"/>
              </a:rPr>
              <a:t>3</a:t>
            </a:r>
          </a:p>
          <a:p>
            <a:pPr algn="just"/>
            <a:endParaRPr lang="es-CL" sz="4800" dirty="0">
              <a:solidFill>
                <a:schemeClr val="accent1"/>
              </a:solidFill>
              <a:latin typeface="ACHS Nueva Sans" pitchFamily="2" charset="77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5956417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n 2">
            <a:extLst>
              <a:ext uri="{FF2B5EF4-FFF2-40B4-BE49-F238E27FC236}">
                <a16:creationId xmlns:a16="http://schemas.microsoft.com/office/drawing/2014/main" xmlns="" id="{722D8996-DECF-5045-8F55-3781F03CA2E8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060" t="3355" r="211" b="4138"/>
          <a:stretch/>
        </p:blipFill>
        <p:spPr>
          <a:xfrm>
            <a:off x="4449964" y="1538289"/>
            <a:ext cx="7742036" cy="5319711"/>
          </a:xfrm>
          <a:prstGeom prst="rect">
            <a:avLst/>
          </a:prstGeom>
        </p:spPr>
      </p:pic>
      <p:sp>
        <p:nvSpPr>
          <p:cNvPr id="17" name="Text Placeholder 11">
            <a:extLst>
              <a:ext uri="{FF2B5EF4-FFF2-40B4-BE49-F238E27FC236}">
                <a16:creationId xmlns:a16="http://schemas.microsoft.com/office/drawing/2014/main" xmlns="" id="{8B8147D9-6C1A-C54D-BA01-71B865FA89C4}"/>
              </a:ext>
            </a:extLst>
          </p:cNvPr>
          <p:cNvSpPr txBox="1">
            <a:spLocks/>
          </p:cNvSpPr>
          <p:nvPr/>
        </p:nvSpPr>
        <p:spPr>
          <a:xfrm>
            <a:off x="436561" y="981124"/>
            <a:ext cx="3452134" cy="72840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16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04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609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219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CL" dirty="0">
                <a:latin typeface="ACHS Nueva Sans Medium" pitchFamily="2" charset="77"/>
              </a:rPr>
              <a:t>Medidas para evitar el contagio de hantavirus entre la población que vive en zonas rurales: </a:t>
            </a:r>
          </a:p>
          <a:p>
            <a:endParaRPr lang="x-none" dirty="0">
              <a:latin typeface="ACHS Nueva Sans Medium" pitchFamily="2" charset="77"/>
            </a:endParaRPr>
          </a:p>
        </p:txBody>
      </p:sp>
      <p:sp>
        <p:nvSpPr>
          <p:cNvPr id="12" name="Marcador de texto 5">
            <a:extLst>
              <a:ext uri="{FF2B5EF4-FFF2-40B4-BE49-F238E27FC236}">
                <a16:creationId xmlns:a16="http://schemas.microsoft.com/office/drawing/2014/main" xmlns="" id="{C34760D0-66D0-D646-9F53-0F3BDA5B2980}"/>
              </a:ext>
            </a:extLst>
          </p:cNvPr>
          <p:cNvSpPr txBox="1">
            <a:spLocks/>
          </p:cNvSpPr>
          <p:nvPr/>
        </p:nvSpPr>
        <p:spPr>
          <a:xfrm>
            <a:off x="449262" y="1901498"/>
            <a:ext cx="3009556" cy="3514974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1600" b="0" i="0" u="none" strike="noStrike" cap="none" spc="0" baseline="0">
                <a:solidFill>
                  <a:schemeClr val="accent1"/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1pPr>
            <a:lvl2pPr marL="3048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6096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9144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2192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285750" lvl="0" indent="-285750">
              <a:lnSpc>
                <a:spcPct val="100000"/>
              </a:lnSpc>
              <a:spcBef>
                <a:spcPts val="80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dirty="0">
                <a:solidFill>
                  <a:schemeClr val="accent3">
                    <a:lumMod val="75000"/>
                    <a:lumOff val="25000"/>
                  </a:schemeClr>
                </a:solidFill>
                <a:latin typeface="ACHS Nueva Sans Medium" pitchFamily="2" charset="77"/>
              </a:rPr>
              <a:t>Ventile por 30 minutos antes de entrar a lugares cerrados por largo tiempo.</a:t>
            </a:r>
          </a:p>
          <a:p>
            <a:pPr marL="285750" lvl="0" indent="-285750">
              <a:lnSpc>
                <a:spcPct val="100000"/>
              </a:lnSpc>
              <a:spcBef>
                <a:spcPts val="80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dirty="0">
                <a:solidFill>
                  <a:schemeClr val="accent3">
                    <a:lumMod val="75000"/>
                    <a:lumOff val="25000"/>
                  </a:schemeClr>
                </a:solidFill>
                <a:latin typeface="ACHS Nueva Sans Medium" pitchFamily="2" charset="77"/>
              </a:rPr>
              <a:t>Después de ventilar, rocíe el suelo y superficies con agua y cloro. Luego limpie y barra.</a:t>
            </a:r>
          </a:p>
          <a:p>
            <a:pPr marL="285750" lvl="0" indent="-285750">
              <a:lnSpc>
                <a:spcPct val="100000"/>
              </a:lnSpc>
              <a:spcBef>
                <a:spcPts val="80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dirty="0">
                <a:solidFill>
                  <a:schemeClr val="accent3">
                    <a:lumMod val="75000"/>
                    <a:lumOff val="25000"/>
                  </a:schemeClr>
                </a:solidFill>
                <a:latin typeface="ACHS Nueva Sans Medium" pitchFamily="2" charset="77"/>
              </a:rPr>
              <a:t>Mantenga el exterior de casas y bodegas libre de maleza y basura.</a:t>
            </a:r>
          </a:p>
          <a:p>
            <a:pPr marL="285750" lvl="0" indent="-285750">
              <a:lnSpc>
                <a:spcPct val="100000"/>
              </a:lnSpc>
              <a:spcBef>
                <a:spcPts val="80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dirty="0">
                <a:solidFill>
                  <a:schemeClr val="accent3">
                    <a:lumMod val="75000"/>
                    <a:lumOff val="25000"/>
                  </a:schemeClr>
                </a:solidFill>
                <a:latin typeface="ACHS Nueva Sans Medium" pitchFamily="2" charset="77"/>
              </a:rPr>
              <a:t>Mantenga las bodegas ventiladas y ordenadas, sin materiales de desechos.</a:t>
            </a:r>
          </a:p>
        </p:txBody>
      </p:sp>
      <p:sp>
        <p:nvSpPr>
          <p:cNvPr id="9" name="Marcador de texto 4">
            <a:extLst>
              <a:ext uri="{FF2B5EF4-FFF2-40B4-BE49-F238E27FC236}">
                <a16:creationId xmlns:a16="http://schemas.microsoft.com/office/drawing/2014/main" xmlns="" id="{869712B3-6FC2-8142-B70D-238096216E9C}"/>
              </a:ext>
            </a:extLst>
          </p:cNvPr>
          <p:cNvSpPr txBox="1">
            <a:spLocks/>
          </p:cNvSpPr>
          <p:nvPr/>
        </p:nvSpPr>
        <p:spPr>
          <a:xfrm>
            <a:off x="449262" y="496571"/>
            <a:ext cx="9865812" cy="52387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2000" b="0" kern="1200">
                <a:solidFill>
                  <a:schemeClr val="accent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04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609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219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CL" dirty="0">
                <a:latin typeface="ACHS Nueva Serif" pitchFamily="2" charset="77"/>
              </a:rPr>
              <a:t>Prevención general: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6429475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agen 10">
            <a:extLst>
              <a:ext uri="{FF2B5EF4-FFF2-40B4-BE49-F238E27FC236}">
                <a16:creationId xmlns:a16="http://schemas.microsoft.com/office/drawing/2014/main" xmlns="" id="{ABEADD9A-249D-4944-8763-6FBB41689609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88" t="4831" r="7732" b="2972"/>
          <a:stretch/>
        </p:blipFill>
        <p:spPr>
          <a:xfrm>
            <a:off x="4473574" y="1538288"/>
            <a:ext cx="7718426" cy="5319712"/>
          </a:xfrm>
          <a:prstGeom prst="rect">
            <a:avLst/>
          </a:prstGeom>
        </p:spPr>
      </p:pic>
      <p:sp>
        <p:nvSpPr>
          <p:cNvPr id="17" name="Text Placeholder 11">
            <a:extLst>
              <a:ext uri="{FF2B5EF4-FFF2-40B4-BE49-F238E27FC236}">
                <a16:creationId xmlns:a16="http://schemas.microsoft.com/office/drawing/2014/main" xmlns="" id="{8B8147D9-6C1A-C54D-BA01-71B865FA89C4}"/>
              </a:ext>
            </a:extLst>
          </p:cNvPr>
          <p:cNvSpPr txBox="1">
            <a:spLocks/>
          </p:cNvSpPr>
          <p:nvPr/>
        </p:nvSpPr>
        <p:spPr>
          <a:xfrm>
            <a:off x="436561" y="981124"/>
            <a:ext cx="3380065" cy="729927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16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04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609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219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CL" dirty="0">
                <a:latin typeface="ACHS Nueva Sans Medium" pitchFamily="2" charset="77"/>
              </a:rPr>
              <a:t>Medidas para evitar el contagio de hantavirus entre la población que vive en zonas rurales: </a:t>
            </a:r>
          </a:p>
          <a:p>
            <a:endParaRPr lang="x-none" dirty="0">
              <a:latin typeface="ACHS Nueva Sans Medium" pitchFamily="2" charset="77"/>
            </a:endParaRPr>
          </a:p>
        </p:txBody>
      </p:sp>
      <p:sp>
        <p:nvSpPr>
          <p:cNvPr id="12" name="Marcador de texto 5">
            <a:extLst>
              <a:ext uri="{FF2B5EF4-FFF2-40B4-BE49-F238E27FC236}">
                <a16:creationId xmlns:a16="http://schemas.microsoft.com/office/drawing/2014/main" xmlns="" id="{C34760D0-66D0-D646-9F53-0F3BDA5B2980}"/>
              </a:ext>
            </a:extLst>
          </p:cNvPr>
          <p:cNvSpPr txBox="1">
            <a:spLocks/>
          </p:cNvSpPr>
          <p:nvPr/>
        </p:nvSpPr>
        <p:spPr>
          <a:xfrm>
            <a:off x="436561" y="1969469"/>
            <a:ext cx="3108948" cy="4165825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1600" b="0" i="0" u="none" strike="noStrike" cap="none" spc="0" baseline="0">
                <a:solidFill>
                  <a:schemeClr val="accent1"/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1pPr>
            <a:lvl2pPr marL="3048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6096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9144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2192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285750" lvl="0" indent="-285750">
              <a:lnSpc>
                <a:spcPct val="100000"/>
              </a:lnSpc>
              <a:spcBef>
                <a:spcPts val="80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dirty="0">
                <a:solidFill>
                  <a:schemeClr val="accent3">
                    <a:lumMod val="75000"/>
                    <a:lumOff val="25000"/>
                  </a:schemeClr>
                </a:solidFill>
                <a:latin typeface="ACHS Nueva Sans Medium" pitchFamily="2" charset="77"/>
              </a:rPr>
              <a:t>Selle y desratice galpones y bodegas.</a:t>
            </a:r>
          </a:p>
          <a:p>
            <a:pPr marL="285750" lvl="0" indent="-285750">
              <a:lnSpc>
                <a:spcPct val="100000"/>
              </a:lnSpc>
              <a:spcBef>
                <a:spcPts val="80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dirty="0">
                <a:solidFill>
                  <a:schemeClr val="accent3">
                    <a:lumMod val="75000"/>
                    <a:lumOff val="25000"/>
                  </a:schemeClr>
                </a:solidFill>
                <a:latin typeface="ACHS Nueva Sans Medium" pitchFamily="2" charset="77"/>
              </a:rPr>
              <a:t>Mantenga los alimentos y agua fuera del alcance de los roedores, almacenándolos siempre en envases herméticos.</a:t>
            </a:r>
          </a:p>
          <a:p>
            <a:pPr marL="285750" lvl="0" indent="-285750">
              <a:lnSpc>
                <a:spcPct val="100000"/>
              </a:lnSpc>
              <a:spcBef>
                <a:spcPts val="80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dirty="0">
                <a:solidFill>
                  <a:schemeClr val="accent3">
                    <a:lumMod val="75000"/>
                    <a:lumOff val="25000"/>
                  </a:schemeClr>
                </a:solidFill>
                <a:latin typeface="ACHS Nueva Sans Medium" pitchFamily="2" charset="77"/>
              </a:rPr>
              <a:t>Evite el ingreso de los roedores a las viviendas tapando los orificios y cavidades por donde puedan entrar.</a:t>
            </a:r>
          </a:p>
          <a:p>
            <a:pPr marL="285750" lvl="0" indent="-285750">
              <a:lnSpc>
                <a:spcPct val="100000"/>
              </a:lnSpc>
              <a:spcBef>
                <a:spcPts val="80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dirty="0">
                <a:solidFill>
                  <a:schemeClr val="accent3">
                    <a:lumMod val="75000"/>
                    <a:lumOff val="25000"/>
                  </a:schemeClr>
                </a:solidFill>
                <a:latin typeface="ACHS Nueva Sans Medium" pitchFamily="2" charset="77"/>
              </a:rPr>
              <a:t>No mate zorros, culebras y lechuzas: le protegen de los roedores.</a:t>
            </a:r>
          </a:p>
          <a:p>
            <a:pPr marL="285750" lvl="0" indent="-285750">
              <a:lnSpc>
                <a:spcPct val="100000"/>
              </a:lnSpc>
              <a:spcBef>
                <a:spcPts val="800"/>
              </a:spcBef>
              <a:buClr>
                <a:schemeClr val="accent1"/>
              </a:buClr>
              <a:buFont typeface="Wingdings" pitchFamily="2" charset="2"/>
              <a:buChar char="§"/>
            </a:pPr>
            <a:endParaRPr lang="es-ES" dirty="0">
              <a:solidFill>
                <a:schemeClr val="accent3">
                  <a:lumMod val="75000"/>
                  <a:lumOff val="25000"/>
                </a:schemeClr>
              </a:solidFill>
              <a:latin typeface="ACHS Nueva Sans Medium" pitchFamily="2" charset="77"/>
            </a:endParaRPr>
          </a:p>
        </p:txBody>
      </p:sp>
      <p:sp>
        <p:nvSpPr>
          <p:cNvPr id="9" name="Marcador de texto 4">
            <a:extLst>
              <a:ext uri="{FF2B5EF4-FFF2-40B4-BE49-F238E27FC236}">
                <a16:creationId xmlns:a16="http://schemas.microsoft.com/office/drawing/2014/main" xmlns="" id="{869712B3-6FC2-8142-B70D-238096216E9C}"/>
              </a:ext>
            </a:extLst>
          </p:cNvPr>
          <p:cNvSpPr txBox="1">
            <a:spLocks/>
          </p:cNvSpPr>
          <p:nvPr/>
        </p:nvSpPr>
        <p:spPr>
          <a:xfrm>
            <a:off x="449262" y="496571"/>
            <a:ext cx="9865812" cy="52387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2000" b="0" kern="1200">
                <a:solidFill>
                  <a:schemeClr val="accent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04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609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219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CL" dirty="0">
                <a:latin typeface="ACHS Nueva Serif" pitchFamily="2" charset="77"/>
              </a:rPr>
              <a:t>Prevención general: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0458016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n 6">
            <a:extLst>
              <a:ext uri="{FF2B5EF4-FFF2-40B4-BE49-F238E27FC236}">
                <a16:creationId xmlns:a16="http://schemas.microsoft.com/office/drawing/2014/main" xmlns="" id="{22C901A6-2446-164D-BC15-03E190F20B32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38" t="1045" r="7945" b="5756"/>
          <a:stretch/>
        </p:blipFill>
        <p:spPr>
          <a:xfrm>
            <a:off x="4473574" y="1538289"/>
            <a:ext cx="7718426" cy="5319711"/>
          </a:xfrm>
          <a:prstGeom prst="rect">
            <a:avLst/>
          </a:prstGeom>
        </p:spPr>
      </p:pic>
      <p:sp>
        <p:nvSpPr>
          <p:cNvPr id="17" name="Text Placeholder 11">
            <a:extLst>
              <a:ext uri="{FF2B5EF4-FFF2-40B4-BE49-F238E27FC236}">
                <a16:creationId xmlns:a16="http://schemas.microsoft.com/office/drawing/2014/main" xmlns="" id="{8B8147D9-6C1A-C54D-BA01-71B865FA89C4}"/>
              </a:ext>
            </a:extLst>
          </p:cNvPr>
          <p:cNvSpPr txBox="1">
            <a:spLocks/>
          </p:cNvSpPr>
          <p:nvPr/>
        </p:nvSpPr>
        <p:spPr>
          <a:xfrm>
            <a:off x="436561" y="981124"/>
            <a:ext cx="3578848" cy="70852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16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04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609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219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CL" dirty="0">
                <a:latin typeface="ACHS Nueva Sans Medium" pitchFamily="2" charset="77"/>
              </a:rPr>
              <a:t>Medidas para evitar el contagio de hantavirus entre la población general que va a camping y paseos: </a:t>
            </a:r>
          </a:p>
        </p:txBody>
      </p:sp>
      <p:sp>
        <p:nvSpPr>
          <p:cNvPr id="12" name="Marcador de texto 5">
            <a:extLst>
              <a:ext uri="{FF2B5EF4-FFF2-40B4-BE49-F238E27FC236}">
                <a16:creationId xmlns:a16="http://schemas.microsoft.com/office/drawing/2014/main" xmlns="" id="{C34760D0-66D0-D646-9F53-0F3BDA5B2980}"/>
              </a:ext>
            </a:extLst>
          </p:cNvPr>
          <p:cNvSpPr txBox="1">
            <a:spLocks/>
          </p:cNvSpPr>
          <p:nvPr/>
        </p:nvSpPr>
        <p:spPr>
          <a:xfrm>
            <a:off x="449262" y="1901498"/>
            <a:ext cx="3148704" cy="4165825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1600" b="0" i="0" u="none" strike="noStrike" cap="none" spc="0" baseline="0">
                <a:solidFill>
                  <a:schemeClr val="accent1"/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1pPr>
            <a:lvl2pPr marL="3048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6096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9144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2192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285750" indent="-285750">
              <a:lnSpc>
                <a:spcPct val="100000"/>
              </a:lnSpc>
              <a:spcBef>
                <a:spcPts val="80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dirty="0">
                <a:solidFill>
                  <a:schemeClr val="accent3">
                    <a:lumMod val="75000"/>
                    <a:lumOff val="25000"/>
                  </a:schemeClr>
                </a:solidFill>
                <a:latin typeface="ACHS Nueva Sans Medium" pitchFamily="2" charset="77"/>
              </a:rPr>
              <a:t>Elija lugares limpios y libres de matorrales y pastizales.</a:t>
            </a:r>
          </a:p>
          <a:p>
            <a:pPr marL="285750" indent="-285750">
              <a:lnSpc>
                <a:spcPct val="100000"/>
              </a:lnSpc>
              <a:spcBef>
                <a:spcPts val="80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dirty="0">
                <a:solidFill>
                  <a:schemeClr val="accent3">
                    <a:lumMod val="75000"/>
                    <a:lumOff val="25000"/>
                  </a:schemeClr>
                </a:solidFill>
                <a:latin typeface="ACHS Nueva Sans Medium" pitchFamily="2" charset="77"/>
              </a:rPr>
              <a:t>Use carpa con piso, cierre y sin agujeros.</a:t>
            </a:r>
          </a:p>
          <a:p>
            <a:pPr marL="285750" indent="-285750">
              <a:lnSpc>
                <a:spcPct val="100000"/>
              </a:lnSpc>
              <a:spcBef>
                <a:spcPts val="80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dirty="0">
                <a:solidFill>
                  <a:schemeClr val="accent3">
                    <a:lumMod val="75000"/>
                    <a:lumOff val="25000"/>
                  </a:schemeClr>
                </a:solidFill>
                <a:latin typeface="ACHS Nueva Sans Medium" pitchFamily="2" charset="77"/>
              </a:rPr>
              <a:t>Guarde alimentos en envases resistentes y cerrados. </a:t>
            </a:r>
          </a:p>
          <a:p>
            <a:pPr marL="285750" indent="-285750">
              <a:lnSpc>
                <a:spcPct val="100000"/>
              </a:lnSpc>
              <a:spcBef>
                <a:spcPts val="80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dirty="0">
                <a:solidFill>
                  <a:schemeClr val="accent3">
                    <a:lumMod val="75000"/>
                    <a:lumOff val="25000"/>
                  </a:schemeClr>
                </a:solidFill>
                <a:latin typeface="ACHS Nueva Sans Medium" pitchFamily="2" charset="77"/>
              </a:rPr>
              <a:t>No deje ollas y utensilios al alcance de los ratones.</a:t>
            </a:r>
          </a:p>
          <a:p>
            <a:pPr marL="285750" indent="-285750">
              <a:lnSpc>
                <a:spcPct val="100000"/>
              </a:lnSpc>
              <a:spcBef>
                <a:spcPts val="80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dirty="0">
                <a:solidFill>
                  <a:schemeClr val="accent3">
                    <a:lumMod val="75000"/>
                    <a:lumOff val="25000"/>
                  </a:schemeClr>
                </a:solidFill>
                <a:latin typeface="ACHS Nueva Sans Medium" pitchFamily="2" charset="77"/>
              </a:rPr>
              <a:t>Camine sólo por senderos habilitados.</a:t>
            </a:r>
          </a:p>
        </p:txBody>
      </p:sp>
      <p:sp>
        <p:nvSpPr>
          <p:cNvPr id="9" name="Marcador de texto 4">
            <a:extLst>
              <a:ext uri="{FF2B5EF4-FFF2-40B4-BE49-F238E27FC236}">
                <a16:creationId xmlns:a16="http://schemas.microsoft.com/office/drawing/2014/main" xmlns="" id="{869712B3-6FC2-8142-B70D-238096216E9C}"/>
              </a:ext>
            </a:extLst>
          </p:cNvPr>
          <p:cNvSpPr txBox="1">
            <a:spLocks/>
          </p:cNvSpPr>
          <p:nvPr/>
        </p:nvSpPr>
        <p:spPr>
          <a:xfrm>
            <a:off x="449262" y="496571"/>
            <a:ext cx="9865812" cy="52387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2000" b="0" kern="1200">
                <a:solidFill>
                  <a:schemeClr val="accent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04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609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219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CL" dirty="0">
                <a:latin typeface="ACHS Nueva Serif" pitchFamily="2" charset="77"/>
              </a:rPr>
              <a:t>Prevención general: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2880143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ángulo redondeado 9">
            <a:extLst>
              <a:ext uri="{FF2B5EF4-FFF2-40B4-BE49-F238E27FC236}">
                <a16:creationId xmlns:a16="http://schemas.microsoft.com/office/drawing/2014/main" xmlns="" id="{E7654E2E-E67F-0C4D-A182-4C63FB3991C4}"/>
              </a:ext>
            </a:extLst>
          </p:cNvPr>
          <p:cNvSpPr/>
          <p:nvPr/>
        </p:nvSpPr>
        <p:spPr>
          <a:xfrm>
            <a:off x="368621" y="2093886"/>
            <a:ext cx="1239840" cy="321865"/>
          </a:xfrm>
          <a:prstGeom prst="roundRect">
            <a:avLst>
              <a:gd name="adj" fmla="val 26667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dirty="0">
              <a:solidFill>
                <a:schemeClr val="bg2"/>
              </a:solidFill>
            </a:endParaRPr>
          </a:p>
        </p:txBody>
      </p:sp>
      <p:sp>
        <p:nvSpPr>
          <p:cNvPr id="5" name="Marcador de texto 4">
            <a:extLst>
              <a:ext uri="{FF2B5EF4-FFF2-40B4-BE49-F238E27FC236}">
                <a16:creationId xmlns:a16="http://schemas.microsoft.com/office/drawing/2014/main" xmlns="" id="{48B5E83E-7C2D-A244-8752-4DF4034F3A5B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/>
        <p:txBody>
          <a:bodyPr/>
          <a:lstStyle/>
          <a:p>
            <a:r>
              <a:rPr lang="es-ES" dirty="0">
                <a:latin typeface="ACHS Nueva Serif" pitchFamily="2" charset="77"/>
              </a:rPr>
              <a:t>Objetivo del curso</a:t>
            </a:r>
          </a:p>
        </p:txBody>
      </p:sp>
      <p:sp>
        <p:nvSpPr>
          <p:cNvPr id="7" name="Marcador de texto 4">
            <a:extLst>
              <a:ext uri="{FF2B5EF4-FFF2-40B4-BE49-F238E27FC236}">
                <a16:creationId xmlns:a16="http://schemas.microsoft.com/office/drawing/2014/main" xmlns="" id="{1604DFED-2FA4-CD48-8413-1162F6E90292}"/>
              </a:ext>
            </a:extLst>
          </p:cNvPr>
          <p:cNvSpPr txBox="1">
            <a:spLocks/>
          </p:cNvSpPr>
          <p:nvPr/>
        </p:nvSpPr>
        <p:spPr>
          <a:xfrm>
            <a:off x="449263" y="2841171"/>
            <a:ext cx="4792208" cy="648021"/>
          </a:xfrm>
          <a:prstGeom prst="rect">
            <a:avLst/>
          </a:prstGeom>
        </p:spPr>
        <p:txBody>
          <a:bodyPr/>
          <a:lstStyle>
            <a:lvl1pPr marL="285750" indent="-28575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6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590550" indent="-28575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tabLst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895350" indent="-28575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Arial" panose="020B0604020202020204" pitchFamily="34" charset="0"/>
              <a:buChar char="-"/>
              <a:tabLst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200150" indent="-28575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Arial" panose="020B0604020202020204" pitchFamily="34" charset="0"/>
              <a:buChar char="-"/>
              <a:tabLst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504950" indent="-28575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Arial" panose="020B0604020202020204" pitchFamily="34" charset="0"/>
              <a:buChar char="-"/>
              <a:tabLst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ES" dirty="0">
                <a:solidFill>
                  <a:schemeClr val="tx1"/>
                </a:solidFill>
                <a:latin typeface="ACHS Nueva Sans Medium" pitchFamily="2" charset="77"/>
              </a:rPr>
              <a:t>Informar a los trabajadores para prevenir el contagio de Hantavirus.</a:t>
            </a:r>
          </a:p>
        </p:txBody>
      </p:sp>
      <p:sp>
        <p:nvSpPr>
          <p:cNvPr id="8" name="Marcador de texto 7">
            <a:extLst>
              <a:ext uri="{FF2B5EF4-FFF2-40B4-BE49-F238E27FC236}">
                <a16:creationId xmlns:a16="http://schemas.microsoft.com/office/drawing/2014/main" xmlns="" id="{86DA05A2-E962-2A45-B547-415D3AA18A95}"/>
              </a:ext>
            </a:extLst>
          </p:cNvPr>
          <p:cNvSpPr txBox="1">
            <a:spLocks/>
          </p:cNvSpPr>
          <p:nvPr/>
        </p:nvSpPr>
        <p:spPr>
          <a:xfrm>
            <a:off x="436561" y="2157287"/>
            <a:ext cx="1239839" cy="258464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16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04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609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219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CL" b="1" dirty="0">
                <a:solidFill>
                  <a:schemeClr val="bg2"/>
                </a:solidFill>
                <a:latin typeface="ACHS Nueva Serif" pitchFamily="2" charset="77"/>
              </a:rPr>
              <a:t>OBJETIVO</a:t>
            </a:r>
          </a:p>
        </p:txBody>
      </p:sp>
      <p:pic>
        <p:nvPicPr>
          <p:cNvPr id="9" name="Imagen 8">
            <a:extLst>
              <a:ext uri="{FF2B5EF4-FFF2-40B4-BE49-F238E27FC236}">
                <a16:creationId xmlns:a16="http://schemas.microsoft.com/office/drawing/2014/main" xmlns="" id="{0EE22805-5A3B-C642-898F-1E1393E82D5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988304" y="1898027"/>
            <a:ext cx="5376962" cy="5535109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8644400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agen 10">
            <a:extLst>
              <a:ext uri="{FF2B5EF4-FFF2-40B4-BE49-F238E27FC236}">
                <a16:creationId xmlns:a16="http://schemas.microsoft.com/office/drawing/2014/main" xmlns="" id="{1AAF27C3-B8EA-5742-A268-41B352E1F61E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548" t="8522" r="4436" b="4586"/>
          <a:stretch/>
        </p:blipFill>
        <p:spPr>
          <a:xfrm>
            <a:off x="4473574" y="1538288"/>
            <a:ext cx="7718426" cy="5319712"/>
          </a:xfrm>
          <a:prstGeom prst="rect">
            <a:avLst/>
          </a:prstGeom>
        </p:spPr>
      </p:pic>
      <p:sp>
        <p:nvSpPr>
          <p:cNvPr id="17" name="Text Placeholder 11">
            <a:extLst>
              <a:ext uri="{FF2B5EF4-FFF2-40B4-BE49-F238E27FC236}">
                <a16:creationId xmlns:a16="http://schemas.microsoft.com/office/drawing/2014/main" xmlns="" id="{8B8147D9-6C1A-C54D-BA01-71B865FA89C4}"/>
              </a:ext>
            </a:extLst>
          </p:cNvPr>
          <p:cNvSpPr txBox="1">
            <a:spLocks/>
          </p:cNvSpPr>
          <p:nvPr/>
        </p:nvSpPr>
        <p:spPr>
          <a:xfrm>
            <a:off x="436561" y="981124"/>
            <a:ext cx="3618604" cy="74828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16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04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609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219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CL" dirty="0">
                <a:latin typeface="ACHS Nueva Sans Medium" pitchFamily="2" charset="77"/>
              </a:rPr>
              <a:t>Medidas para evitar el contagio de hantavirus entre la población general que va a camping y paseos: </a:t>
            </a:r>
          </a:p>
        </p:txBody>
      </p:sp>
      <p:sp>
        <p:nvSpPr>
          <p:cNvPr id="12" name="Marcador de texto 5">
            <a:extLst>
              <a:ext uri="{FF2B5EF4-FFF2-40B4-BE49-F238E27FC236}">
                <a16:creationId xmlns:a16="http://schemas.microsoft.com/office/drawing/2014/main" xmlns="" id="{C34760D0-66D0-D646-9F53-0F3BDA5B2980}"/>
              </a:ext>
            </a:extLst>
          </p:cNvPr>
          <p:cNvSpPr txBox="1">
            <a:spLocks/>
          </p:cNvSpPr>
          <p:nvPr/>
        </p:nvSpPr>
        <p:spPr>
          <a:xfrm>
            <a:off x="449262" y="1931114"/>
            <a:ext cx="2969800" cy="3630058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1600" b="0" i="0" u="none" strike="noStrike" cap="none" spc="0" baseline="0">
                <a:solidFill>
                  <a:schemeClr val="accent1"/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1pPr>
            <a:lvl2pPr marL="3048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6096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9144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2192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285750" indent="-285750">
              <a:lnSpc>
                <a:spcPct val="100000"/>
              </a:lnSpc>
              <a:spcBef>
                <a:spcPts val="80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dirty="0">
                <a:solidFill>
                  <a:schemeClr val="accent3">
                    <a:lumMod val="75000"/>
                    <a:lumOff val="25000"/>
                  </a:schemeClr>
                </a:solidFill>
                <a:latin typeface="ACHS Nueva Sans Medium" pitchFamily="2" charset="77"/>
              </a:rPr>
              <a:t>Camine sólo por senderos habilitados.</a:t>
            </a:r>
          </a:p>
          <a:p>
            <a:pPr marL="285750" indent="-285750">
              <a:lnSpc>
                <a:spcPct val="100000"/>
              </a:lnSpc>
              <a:spcBef>
                <a:spcPts val="80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dirty="0">
                <a:solidFill>
                  <a:schemeClr val="accent3">
                    <a:lumMod val="75000"/>
                    <a:lumOff val="25000"/>
                  </a:schemeClr>
                </a:solidFill>
                <a:latin typeface="ACHS Nueva Sans Medium" pitchFamily="2" charset="77"/>
              </a:rPr>
              <a:t>No se interne entre matorrales y pastizales.</a:t>
            </a:r>
          </a:p>
          <a:p>
            <a:pPr marL="285750" indent="-285750">
              <a:lnSpc>
                <a:spcPct val="100000"/>
              </a:lnSpc>
              <a:spcBef>
                <a:spcPts val="80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dirty="0">
                <a:solidFill>
                  <a:schemeClr val="accent3">
                    <a:lumMod val="75000"/>
                    <a:lumOff val="25000"/>
                  </a:schemeClr>
                </a:solidFill>
                <a:latin typeface="ACHS Nueva Sans Medium" pitchFamily="2" charset="77"/>
              </a:rPr>
              <a:t>No recolecte ni consuma frutos silvestres.</a:t>
            </a:r>
          </a:p>
          <a:p>
            <a:pPr marL="285750" indent="-285750">
              <a:lnSpc>
                <a:spcPct val="100000"/>
              </a:lnSpc>
              <a:spcBef>
                <a:spcPts val="80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dirty="0">
                <a:solidFill>
                  <a:schemeClr val="accent3">
                    <a:lumMod val="75000"/>
                    <a:lumOff val="25000"/>
                  </a:schemeClr>
                </a:solidFill>
                <a:latin typeface="ACHS Nueva Sans Medium" pitchFamily="2" charset="77"/>
              </a:rPr>
              <a:t>Mantenga la basura en recipientes cerrados, si es necesario entiérrela.</a:t>
            </a:r>
          </a:p>
          <a:p>
            <a:pPr marL="285750" indent="-285750">
              <a:lnSpc>
                <a:spcPct val="100000"/>
              </a:lnSpc>
              <a:spcBef>
                <a:spcPts val="80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dirty="0">
                <a:solidFill>
                  <a:schemeClr val="accent3">
                    <a:lumMod val="75000"/>
                    <a:lumOff val="25000"/>
                  </a:schemeClr>
                </a:solidFill>
                <a:latin typeface="ACHS Nueva Sans Medium" pitchFamily="2" charset="77"/>
              </a:rPr>
              <a:t>Beba sólo agua segura (potable, envasada, hervida o desinfectada).</a:t>
            </a:r>
          </a:p>
        </p:txBody>
      </p:sp>
      <p:sp>
        <p:nvSpPr>
          <p:cNvPr id="9" name="Marcador de texto 4">
            <a:extLst>
              <a:ext uri="{FF2B5EF4-FFF2-40B4-BE49-F238E27FC236}">
                <a16:creationId xmlns:a16="http://schemas.microsoft.com/office/drawing/2014/main" xmlns="" id="{869712B3-6FC2-8142-B70D-238096216E9C}"/>
              </a:ext>
            </a:extLst>
          </p:cNvPr>
          <p:cNvSpPr txBox="1">
            <a:spLocks/>
          </p:cNvSpPr>
          <p:nvPr/>
        </p:nvSpPr>
        <p:spPr>
          <a:xfrm>
            <a:off x="449262" y="496571"/>
            <a:ext cx="9865812" cy="52387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2000" b="0" kern="1200">
                <a:solidFill>
                  <a:schemeClr val="accent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04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609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219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CL" dirty="0">
                <a:latin typeface="ACHS Nueva Serif" pitchFamily="2" charset="77"/>
              </a:rPr>
              <a:t>Prevención general: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9550319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n 2">
            <a:extLst>
              <a:ext uri="{FF2B5EF4-FFF2-40B4-BE49-F238E27FC236}">
                <a16:creationId xmlns:a16="http://schemas.microsoft.com/office/drawing/2014/main" xmlns="" id="{CF64DB0D-7F3F-DB45-9C51-523D4D424BEB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7" t="39208" r="787" b="13719"/>
          <a:stretch/>
        </p:blipFill>
        <p:spPr>
          <a:xfrm>
            <a:off x="4473573" y="1538288"/>
            <a:ext cx="7718427" cy="5319712"/>
          </a:xfrm>
          <a:prstGeom prst="rect">
            <a:avLst/>
          </a:prstGeom>
        </p:spPr>
      </p:pic>
      <p:sp>
        <p:nvSpPr>
          <p:cNvPr id="12" name="Marcador de texto 5">
            <a:extLst>
              <a:ext uri="{FF2B5EF4-FFF2-40B4-BE49-F238E27FC236}">
                <a16:creationId xmlns:a16="http://schemas.microsoft.com/office/drawing/2014/main" xmlns="" id="{C34760D0-66D0-D646-9F53-0F3BDA5B2980}"/>
              </a:ext>
            </a:extLst>
          </p:cNvPr>
          <p:cNvSpPr txBox="1">
            <a:spLocks/>
          </p:cNvSpPr>
          <p:nvPr/>
        </p:nvSpPr>
        <p:spPr>
          <a:xfrm>
            <a:off x="449263" y="1201405"/>
            <a:ext cx="3367364" cy="4483777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1600" b="0" i="0" u="none" strike="noStrike" cap="none" spc="0" baseline="0">
                <a:solidFill>
                  <a:schemeClr val="accent1"/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1pPr>
            <a:lvl2pPr marL="3048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6096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9144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2192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lnSpc>
                <a:spcPct val="100000"/>
              </a:lnSpc>
              <a:spcBef>
                <a:spcPts val="800"/>
              </a:spcBef>
              <a:buClr>
                <a:schemeClr val="accent1"/>
              </a:buClr>
            </a:pPr>
            <a:r>
              <a:rPr lang="es-ES" b="1" dirty="0">
                <a:latin typeface="ACHS Nueva Sans Medium" pitchFamily="2" charset="77"/>
              </a:rPr>
              <a:t>Si encuentra excrementos, ratones muertos, nidos, alimentos roídos y otros objetos que pudieron estar en contacto con los ratones: </a:t>
            </a:r>
          </a:p>
          <a:p>
            <a:pPr>
              <a:lnSpc>
                <a:spcPct val="100000"/>
              </a:lnSpc>
              <a:spcBef>
                <a:spcPts val="800"/>
              </a:spcBef>
              <a:buClr>
                <a:schemeClr val="accent1"/>
              </a:buClr>
            </a:pPr>
            <a:endParaRPr lang="es-ES" dirty="0">
              <a:solidFill>
                <a:schemeClr val="accent3">
                  <a:lumMod val="75000"/>
                  <a:lumOff val="25000"/>
                </a:schemeClr>
              </a:solidFill>
              <a:latin typeface="ACHS Nueva Sans Medium" pitchFamily="2" charset="77"/>
            </a:endParaRPr>
          </a:p>
          <a:p>
            <a:pPr marL="285750" lvl="0" indent="-285750">
              <a:lnSpc>
                <a:spcPct val="100000"/>
              </a:lnSpc>
              <a:spcBef>
                <a:spcPts val="80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dirty="0">
                <a:solidFill>
                  <a:schemeClr val="accent3">
                    <a:lumMod val="75000"/>
                    <a:lumOff val="25000"/>
                  </a:schemeClr>
                </a:solidFill>
                <a:latin typeface="ACHS Nueva Sans Medium" pitchFamily="2" charset="77"/>
              </a:rPr>
              <a:t> Utilice su ropa habitual de trabajo (overol, botas o zapatos de seguridad y guantes), además de mascarilla N100.</a:t>
            </a:r>
          </a:p>
          <a:p>
            <a:pPr marL="285750" lvl="0" indent="-285750">
              <a:lnSpc>
                <a:spcPct val="100000"/>
              </a:lnSpc>
              <a:spcBef>
                <a:spcPts val="80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dirty="0">
                <a:solidFill>
                  <a:schemeClr val="accent3">
                    <a:lumMod val="75000"/>
                    <a:lumOff val="25000"/>
                  </a:schemeClr>
                </a:solidFill>
                <a:latin typeface="ACHS Nueva Sans Medium" pitchFamily="2" charset="77"/>
              </a:rPr>
              <a:t>Rociar sobre los ratones muertos, excrementos u objetos contaminados una solución de cloro concentrada (sin diluir) y esperar 5 minutos.</a:t>
            </a:r>
          </a:p>
          <a:p>
            <a:pPr lvl="0">
              <a:lnSpc>
                <a:spcPct val="100000"/>
              </a:lnSpc>
              <a:spcBef>
                <a:spcPts val="800"/>
              </a:spcBef>
              <a:buClr>
                <a:schemeClr val="accent1"/>
              </a:buClr>
            </a:pPr>
            <a:endParaRPr lang="es-ES" dirty="0">
              <a:solidFill>
                <a:schemeClr val="accent3">
                  <a:lumMod val="75000"/>
                  <a:lumOff val="25000"/>
                </a:schemeClr>
              </a:solidFill>
              <a:latin typeface="ACHS Nueva Sans Medium" pitchFamily="2" charset="77"/>
            </a:endParaRPr>
          </a:p>
        </p:txBody>
      </p:sp>
      <p:sp>
        <p:nvSpPr>
          <p:cNvPr id="9" name="Marcador de texto 4">
            <a:extLst>
              <a:ext uri="{FF2B5EF4-FFF2-40B4-BE49-F238E27FC236}">
                <a16:creationId xmlns:a16="http://schemas.microsoft.com/office/drawing/2014/main" xmlns="" id="{869712B3-6FC2-8142-B70D-238096216E9C}"/>
              </a:ext>
            </a:extLst>
          </p:cNvPr>
          <p:cNvSpPr txBox="1">
            <a:spLocks/>
          </p:cNvSpPr>
          <p:nvPr/>
        </p:nvSpPr>
        <p:spPr>
          <a:xfrm>
            <a:off x="449262" y="496571"/>
            <a:ext cx="9865812" cy="52387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2000" b="0" kern="1200">
                <a:solidFill>
                  <a:schemeClr val="accent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04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609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219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CL" dirty="0">
                <a:latin typeface="ACHS Nueva Serif" pitchFamily="2" charset="77"/>
              </a:rPr>
              <a:t>Prevención general: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5350287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n 7">
            <a:extLst>
              <a:ext uri="{FF2B5EF4-FFF2-40B4-BE49-F238E27FC236}">
                <a16:creationId xmlns:a16="http://schemas.microsoft.com/office/drawing/2014/main" xmlns="" id="{4ADC209E-8F8E-7242-A66E-5205AABDBA4E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200" t="10303" r="3232" b="1235"/>
          <a:stretch/>
        </p:blipFill>
        <p:spPr>
          <a:xfrm>
            <a:off x="4473573" y="1538287"/>
            <a:ext cx="7718427" cy="5319712"/>
          </a:xfrm>
          <a:prstGeom prst="rect">
            <a:avLst/>
          </a:prstGeom>
        </p:spPr>
      </p:pic>
      <p:sp>
        <p:nvSpPr>
          <p:cNvPr id="12" name="Marcador de texto 5">
            <a:extLst>
              <a:ext uri="{FF2B5EF4-FFF2-40B4-BE49-F238E27FC236}">
                <a16:creationId xmlns:a16="http://schemas.microsoft.com/office/drawing/2014/main" xmlns="" id="{C34760D0-66D0-D646-9F53-0F3BDA5B2980}"/>
              </a:ext>
            </a:extLst>
          </p:cNvPr>
          <p:cNvSpPr txBox="1">
            <a:spLocks/>
          </p:cNvSpPr>
          <p:nvPr/>
        </p:nvSpPr>
        <p:spPr>
          <a:xfrm>
            <a:off x="449262" y="1201405"/>
            <a:ext cx="3347486" cy="4624051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1600" b="0" i="0" u="none" strike="noStrike" cap="none" spc="0" baseline="0">
                <a:solidFill>
                  <a:schemeClr val="accent1"/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1pPr>
            <a:lvl2pPr marL="3048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6096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9144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2192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lnSpc>
                <a:spcPct val="100000"/>
              </a:lnSpc>
              <a:spcBef>
                <a:spcPts val="800"/>
              </a:spcBef>
              <a:buClr>
                <a:schemeClr val="accent1"/>
              </a:buClr>
            </a:pPr>
            <a:r>
              <a:rPr lang="es-ES" b="1" dirty="0">
                <a:latin typeface="ACHS Nueva Sans Medium" pitchFamily="2" charset="77"/>
              </a:rPr>
              <a:t>Si encuentra excrementos, ratones muertos, nidos, alimentos roídos y otros objetos que pudieron estar en contacto con los ratones: </a:t>
            </a:r>
          </a:p>
          <a:p>
            <a:pPr>
              <a:lnSpc>
                <a:spcPct val="100000"/>
              </a:lnSpc>
              <a:spcBef>
                <a:spcPts val="800"/>
              </a:spcBef>
              <a:buClr>
                <a:schemeClr val="accent1"/>
              </a:buClr>
            </a:pPr>
            <a:endParaRPr lang="es-ES" dirty="0">
              <a:solidFill>
                <a:schemeClr val="accent3">
                  <a:lumMod val="75000"/>
                  <a:lumOff val="25000"/>
                </a:schemeClr>
              </a:solidFill>
              <a:latin typeface="ACHS Nueva Sans Medium" pitchFamily="2" charset="77"/>
            </a:endParaRPr>
          </a:p>
          <a:p>
            <a:pPr marL="285750" lvl="0" indent="-285750">
              <a:lnSpc>
                <a:spcPct val="100000"/>
              </a:lnSpc>
              <a:spcBef>
                <a:spcPts val="80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dirty="0">
                <a:solidFill>
                  <a:schemeClr val="accent3">
                    <a:lumMod val="75000"/>
                    <a:lumOff val="25000"/>
                  </a:schemeClr>
                </a:solidFill>
                <a:latin typeface="ACHS Nueva Sans Medium" pitchFamily="2" charset="77"/>
              </a:rPr>
              <a:t> Colocarlos en una bolsa plástica cerrada, ponerla dentro de una segunda bolsa y cerrarla. Las bolsas deberán enterrarse en pozos de más de 60 cms. de profundidad o quemarse.</a:t>
            </a:r>
          </a:p>
          <a:p>
            <a:pPr marL="285750" lvl="0" indent="-285750">
              <a:lnSpc>
                <a:spcPct val="100000"/>
              </a:lnSpc>
              <a:spcBef>
                <a:spcPts val="80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dirty="0">
                <a:solidFill>
                  <a:schemeClr val="accent3">
                    <a:lumMod val="75000"/>
                    <a:lumOff val="25000"/>
                  </a:schemeClr>
                </a:solidFill>
                <a:latin typeface="ACHS Nueva Sans Medium" pitchFamily="2" charset="77"/>
              </a:rPr>
              <a:t>Lave sus manos con guantes puestos en solución desinfectante y después lave las manos con abundante agua.</a:t>
            </a:r>
          </a:p>
          <a:p>
            <a:pPr marL="285750" lvl="0" indent="-285750">
              <a:lnSpc>
                <a:spcPct val="100000"/>
              </a:lnSpc>
              <a:spcBef>
                <a:spcPts val="800"/>
              </a:spcBef>
              <a:buClr>
                <a:schemeClr val="accent1"/>
              </a:buClr>
              <a:buFont typeface="Wingdings" pitchFamily="2" charset="2"/>
              <a:buChar char="§"/>
            </a:pPr>
            <a:endParaRPr lang="es-ES" dirty="0">
              <a:solidFill>
                <a:schemeClr val="accent3">
                  <a:lumMod val="75000"/>
                  <a:lumOff val="25000"/>
                </a:schemeClr>
              </a:solidFill>
              <a:latin typeface="ACHS Nueva Sans Medium" pitchFamily="2" charset="77"/>
            </a:endParaRPr>
          </a:p>
        </p:txBody>
      </p:sp>
      <p:sp>
        <p:nvSpPr>
          <p:cNvPr id="9" name="Marcador de texto 4">
            <a:extLst>
              <a:ext uri="{FF2B5EF4-FFF2-40B4-BE49-F238E27FC236}">
                <a16:creationId xmlns:a16="http://schemas.microsoft.com/office/drawing/2014/main" xmlns="" id="{869712B3-6FC2-8142-B70D-238096216E9C}"/>
              </a:ext>
            </a:extLst>
          </p:cNvPr>
          <p:cNvSpPr txBox="1">
            <a:spLocks/>
          </p:cNvSpPr>
          <p:nvPr/>
        </p:nvSpPr>
        <p:spPr>
          <a:xfrm>
            <a:off x="449262" y="496571"/>
            <a:ext cx="9865812" cy="52387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2000" b="0" kern="1200">
                <a:solidFill>
                  <a:schemeClr val="accent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04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609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219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CL" dirty="0">
                <a:latin typeface="ACHS Nueva Serif" pitchFamily="2" charset="77"/>
              </a:rPr>
              <a:t>Prevención general: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6569803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n 2">
            <a:extLst>
              <a:ext uri="{FF2B5EF4-FFF2-40B4-BE49-F238E27FC236}">
                <a16:creationId xmlns:a16="http://schemas.microsoft.com/office/drawing/2014/main" xmlns="" id="{516D6D34-4957-6A4C-B39A-E63A60E4E5B7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382" t="603" r="8633" b="3035"/>
          <a:stretch/>
        </p:blipFill>
        <p:spPr>
          <a:xfrm>
            <a:off x="4473573" y="1538285"/>
            <a:ext cx="7718427" cy="5319715"/>
          </a:xfrm>
          <a:prstGeom prst="rect">
            <a:avLst/>
          </a:prstGeom>
        </p:spPr>
      </p:pic>
      <p:sp>
        <p:nvSpPr>
          <p:cNvPr id="17" name="Text Placeholder 11">
            <a:extLst>
              <a:ext uri="{FF2B5EF4-FFF2-40B4-BE49-F238E27FC236}">
                <a16:creationId xmlns:a16="http://schemas.microsoft.com/office/drawing/2014/main" xmlns="" id="{8B8147D9-6C1A-C54D-BA01-71B865FA89C4}"/>
              </a:ext>
            </a:extLst>
          </p:cNvPr>
          <p:cNvSpPr txBox="1">
            <a:spLocks/>
          </p:cNvSpPr>
          <p:nvPr/>
        </p:nvSpPr>
        <p:spPr>
          <a:xfrm>
            <a:off x="436561" y="981125"/>
            <a:ext cx="9865812" cy="35628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16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04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609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219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CL" dirty="0">
                <a:latin typeface="ACHS Nueva Sans Medium" pitchFamily="2" charset="77"/>
              </a:rPr>
              <a:t>Cuando haga actividades al aire libre:</a:t>
            </a:r>
          </a:p>
        </p:txBody>
      </p:sp>
      <p:sp>
        <p:nvSpPr>
          <p:cNvPr id="12" name="Marcador de texto 5">
            <a:extLst>
              <a:ext uri="{FF2B5EF4-FFF2-40B4-BE49-F238E27FC236}">
                <a16:creationId xmlns:a16="http://schemas.microsoft.com/office/drawing/2014/main" xmlns="" id="{C34760D0-66D0-D646-9F53-0F3BDA5B2980}"/>
              </a:ext>
            </a:extLst>
          </p:cNvPr>
          <p:cNvSpPr txBox="1">
            <a:spLocks/>
          </p:cNvSpPr>
          <p:nvPr/>
        </p:nvSpPr>
        <p:spPr>
          <a:xfrm>
            <a:off x="449261" y="1538289"/>
            <a:ext cx="3307730" cy="47533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1600" b="0" i="0" u="none" strike="noStrike" cap="none" spc="0" baseline="0">
                <a:solidFill>
                  <a:schemeClr val="accent1"/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1pPr>
            <a:lvl2pPr marL="3048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6096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9144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2192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285750" indent="-285750">
              <a:lnSpc>
                <a:spcPct val="100000"/>
              </a:lnSpc>
              <a:spcBef>
                <a:spcPts val="80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dirty="0">
                <a:solidFill>
                  <a:schemeClr val="accent3">
                    <a:lumMod val="75000"/>
                    <a:lumOff val="25000"/>
                  </a:schemeClr>
                </a:solidFill>
                <a:latin typeface="ACHS Nueva Sans Medium" pitchFamily="2" charset="77"/>
              </a:rPr>
              <a:t>Evitar el contacto con roedores.</a:t>
            </a:r>
          </a:p>
          <a:p>
            <a:pPr marL="285750" indent="-285750">
              <a:lnSpc>
                <a:spcPct val="100000"/>
              </a:lnSpc>
              <a:spcBef>
                <a:spcPts val="80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dirty="0">
                <a:solidFill>
                  <a:schemeClr val="accent3">
                    <a:lumMod val="75000"/>
                    <a:lumOff val="25000"/>
                  </a:schemeClr>
                </a:solidFill>
                <a:latin typeface="ACHS Nueva Sans Medium" pitchFamily="2" charset="77"/>
              </a:rPr>
              <a:t>Alejarse de cuevas o nidos de ratones.</a:t>
            </a:r>
          </a:p>
          <a:p>
            <a:pPr marL="285750" indent="-285750">
              <a:lnSpc>
                <a:spcPct val="100000"/>
              </a:lnSpc>
              <a:spcBef>
                <a:spcPts val="80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dirty="0">
                <a:solidFill>
                  <a:schemeClr val="accent3">
                    <a:lumMod val="75000"/>
                    <a:lumOff val="25000"/>
                  </a:schemeClr>
                </a:solidFill>
                <a:latin typeface="ACHS Nueva Sans Medium" pitchFamily="2" charset="77"/>
              </a:rPr>
              <a:t>Ir a camping limpio y autorizado.</a:t>
            </a:r>
          </a:p>
          <a:p>
            <a:pPr marL="285750" indent="-285750">
              <a:lnSpc>
                <a:spcPct val="100000"/>
              </a:lnSpc>
              <a:spcBef>
                <a:spcPts val="80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dirty="0">
                <a:solidFill>
                  <a:schemeClr val="accent3">
                    <a:lumMod val="75000"/>
                    <a:lumOff val="25000"/>
                  </a:schemeClr>
                </a:solidFill>
                <a:latin typeface="ACHS Nueva Sans Medium" pitchFamily="2" charset="77"/>
              </a:rPr>
              <a:t>Mantener la comida en envases herméticos.</a:t>
            </a:r>
          </a:p>
          <a:p>
            <a:pPr marL="285750" indent="-285750">
              <a:lnSpc>
                <a:spcPct val="100000"/>
              </a:lnSpc>
              <a:spcBef>
                <a:spcPts val="80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dirty="0">
                <a:solidFill>
                  <a:schemeClr val="accent3">
                    <a:lumMod val="75000"/>
                    <a:lumOff val="25000"/>
                  </a:schemeClr>
                </a:solidFill>
                <a:latin typeface="ACHS Nueva Sans Medium" pitchFamily="2" charset="77"/>
              </a:rPr>
              <a:t>Abrir habitaciones sin uso y ventilar antes de entrar o de limpiar.</a:t>
            </a:r>
          </a:p>
          <a:p>
            <a:pPr marL="285750" indent="-285750">
              <a:lnSpc>
                <a:spcPct val="100000"/>
              </a:lnSpc>
              <a:spcBef>
                <a:spcPts val="80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dirty="0">
                <a:solidFill>
                  <a:schemeClr val="accent3">
                    <a:lumMod val="75000"/>
                    <a:lumOff val="25000"/>
                  </a:schemeClr>
                </a:solidFill>
                <a:latin typeface="ACHS Nueva Sans Medium" pitchFamily="2" charset="77"/>
              </a:rPr>
              <a:t>Evitar dormir directamente en el suelo. Carpas con piso.</a:t>
            </a:r>
          </a:p>
          <a:p>
            <a:pPr marL="285750" indent="-285750">
              <a:lnSpc>
                <a:spcPct val="100000"/>
              </a:lnSpc>
              <a:spcBef>
                <a:spcPts val="80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dirty="0">
                <a:solidFill>
                  <a:schemeClr val="accent3">
                    <a:lumMod val="75000"/>
                    <a:lumOff val="25000"/>
                  </a:schemeClr>
                </a:solidFill>
                <a:latin typeface="ACHS Nueva Sans Medium" pitchFamily="2" charset="77"/>
              </a:rPr>
              <a:t>Transitar por senderos habilitados. </a:t>
            </a:r>
          </a:p>
          <a:p>
            <a:pPr marL="285750" indent="-285750">
              <a:lnSpc>
                <a:spcPct val="100000"/>
              </a:lnSpc>
              <a:spcBef>
                <a:spcPts val="80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dirty="0">
                <a:solidFill>
                  <a:schemeClr val="accent3">
                    <a:lumMod val="75000"/>
                    <a:lumOff val="25000"/>
                  </a:schemeClr>
                </a:solidFill>
                <a:latin typeface="ACHS Nueva Sans Medium" pitchFamily="2" charset="77"/>
              </a:rPr>
              <a:t>No consumir fruta silvestre.</a:t>
            </a:r>
          </a:p>
        </p:txBody>
      </p:sp>
      <p:sp>
        <p:nvSpPr>
          <p:cNvPr id="9" name="Marcador de texto 4">
            <a:extLst>
              <a:ext uri="{FF2B5EF4-FFF2-40B4-BE49-F238E27FC236}">
                <a16:creationId xmlns:a16="http://schemas.microsoft.com/office/drawing/2014/main" xmlns="" id="{869712B3-6FC2-8142-B70D-238096216E9C}"/>
              </a:ext>
            </a:extLst>
          </p:cNvPr>
          <p:cNvSpPr txBox="1">
            <a:spLocks/>
          </p:cNvSpPr>
          <p:nvPr/>
        </p:nvSpPr>
        <p:spPr>
          <a:xfrm>
            <a:off x="449262" y="496571"/>
            <a:ext cx="9865812" cy="52387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2000" b="0" kern="1200">
                <a:solidFill>
                  <a:schemeClr val="accent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04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609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219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CL" dirty="0">
                <a:latin typeface="ACHS Nueva Serif" pitchFamily="2" charset="77"/>
              </a:rPr>
              <a:t>Prevención general: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8288388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n 2">
            <a:extLst>
              <a:ext uri="{FF2B5EF4-FFF2-40B4-BE49-F238E27FC236}">
                <a16:creationId xmlns:a16="http://schemas.microsoft.com/office/drawing/2014/main" xmlns="" id="{029A0F86-3312-A848-850C-8ED41612E400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731" t="5023" r="28007" b="5023"/>
          <a:stretch/>
        </p:blipFill>
        <p:spPr>
          <a:xfrm>
            <a:off x="4473574" y="1538288"/>
            <a:ext cx="7718426" cy="5319712"/>
          </a:xfrm>
          <a:prstGeom prst="rect">
            <a:avLst/>
          </a:prstGeom>
        </p:spPr>
      </p:pic>
      <p:sp>
        <p:nvSpPr>
          <p:cNvPr id="12" name="Marcador de texto 5">
            <a:extLst>
              <a:ext uri="{FF2B5EF4-FFF2-40B4-BE49-F238E27FC236}">
                <a16:creationId xmlns:a16="http://schemas.microsoft.com/office/drawing/2014/main" xmlns="" id="{C34760D0-66D0-D646-9F53-0F3BDA5B2980}"/>
              </a:ext>
            </a:extLst>
          </p:cNvPr>
          <p:cNvSpPr txBox="1">
            <a:spLocks/>
          </p:cNvSpPr>
          <p:nvPr/>
        </p:nvSpPr>
        <p:spPr>
          <a:xfrm>
            <a:off x="430865" y="1020445"/>
            <a:ext cx="3326126" cy="4931176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1600" b="0" i="0" u="none" strike="noStrike" cap="none" spc="0" baseline="0">
                <a:solidFill>
                  <a:schemeClr val="accent1"/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1pPr>
            <a:lvl2pPr marL="3048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6096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9144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2192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285750" indent="-285750">
              <a:lnSpc>
                <a:spcPct val="100000"/>
              </a:lnSpc>
              <a:spcBef>
                <a:spcPts val="180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dirty="0">
                <a:solidFill>
                  <a:schemeClr val="accent3">
                    <a:lumMod val="75000"/>
                    <a:lumOff val="25000"/>
                  </a:schemeClr>
                </a:solidFill>
                <a:latin typeface="ACHS Nueva Sans Medium" pitchFamily="2" charset="77"/>
              </a:rPr>
              <a:t>Los síntomas de esta enfermedad son similares a los que produce un estado gripal: fiebre, dolores musculares, escalofríos, cefaleas, náuseas, vómitos y a veces dolor abdominal y diarrea. </a:t>
            </a:r>
          </a:p>
          <a:p>
            <a:pPr marL="285750" indent="-285750">
              <a:lnSpc>
                <a:spcPct val="100000"/>
              </a:lnSpc>
              <a:spcBef>
                <a:spcPts val="180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dirty="0">
                <a:solidFill>
                  <a:schemeClr val="accent3">
                    <a:lumMod val="75000"/>
                    <a:lumOff val="25000"/>
                  </a:schemeClr>
                </a:solidFill>
                <a:latin typeface="ACHS Nueva Sans Medium" pitchFamily="2" charset="77"/>
              </a:rPr>
              <a:t>Luego de transcurrido unos días puede presentarse también dificultad para respirar que puede agravarse, produciendo un síndrome cardiopulmonar por Hantavirus, que si bien no es muy frecuente, puede llevar a la muerte si no es tratada a tiempo.</a:t>
            </a:r>
          </a:p>
          <a:p>
            <a:pPr marL="285750" indent="-285750">
              <a:lnSpc>
                <a:spcPct val="100000"/>
              </a:lnSpc>
              <a:spcBef>
                <a:spcPts val="1800"/>
              </a:spcBef>
              <a:buClr>
                <a:schemeClr val="accent1"/>
              </a:buClr>
              <a:buFont typeface="Wingdings" pitchFamily="2" charset="2"/>
              <a:buChar char="§"/>
            </a:pPr>
            <a:endParaRPr lang="es-ES" dirty="0">
              <a:solidFill>
                <a:schemeClr val="accent3">
                  <a:lumMod val="75000"/>
                  <a:lumOff val="25000"/>
                </a:schemeClr>
              </a:solidFill>
              <a:latin typeface="ACHS Nueva Sans Medium" pitchFamily="2" charset="77"/>
            </a:endParaRPr>
          </a:p>
        </p:txBody>
      </p:sp>
      <p:sp>
        <p:nvSpPr>
          <p:cNvPr id="9" name="Marcador de texto 4">
            <a:extLst>
              <a:ext uri="{FF2B5EF4-FFF2-40B4-BE49-F238E27FC236}">
                <a16:creationId xmlns:a16="http://schemas.microsoft.com/office/drawing/2014/main" xmlns="" id="{869712B3-6FC2-8142-B70D-238096216E9C}"/>
              </a:ext>
            </a:extLst>
          </p:cNvPr>
          <p:cNvSpPr txBox="1">
            <a:spLocks/>
          </p:cNvSpPr>
          <p:nvPr/>
        </p:nvSpPr>
        <p:spPr>
          <a:xfrm>
            <a:off x="449262" y="496571"/>
            <a:ext cx="9865812" cy="52387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2000" b="0" kern="1200">
                <a:solidFill>
                  <a:schemeClr val="accent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04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609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219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CL" dirty="0">
                <a:latin typeface="ACHS Nueva Serif" pitchFamily="2" charset="77"/>
              </a:rPr>
              <a:t>Conclusion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0464672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Marcador de texto 5">
            <a:extLst>
              <a:ext uri="{FF2B5EF4-FFF2-40B4-BE49-F238E27FC236}">
                <a16:creationId xmlns:a16="http://schemas.microsoft.com/office/drawing/2014/main" xmlns="" id="{C34760D0-66D0-D646-9F53-0F3BDA5B2980}"/>
              </a:ext>
            </a:extLst>
          </p:cNvPr>
          <p:cNvSpPr txBox="1">
            <a:spLocks/>
          </p:cNvSpPr>
          <p:nvPr/>
        </p:nvSpPr>
        <p:spPr>
          <a:xfrm>
            <a:off x="430865" y="1020445"/>
            <a:ext cx="3246613" cy="4931176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1600" b="0" i="0" u="none" strike="noStrike" cap="none" spc="0" baseline="0">
                <a:solidFill>
                  <a:schemeClr val="accent1"/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1pPr>
            <a:lvl2pPr marL="3048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6096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9144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2192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285750" indent="-285750">
              <a:lnSpc>
                <a:spcPct val="100000"/>
              </a:lnSpc>
              <a:spcBef>
                <a:spcPts val="180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dirty="0">
                <a:solidFill>
                  <a:schemeClr val="accent3">
                    <a:lumMod val="75000"/>
                    <a:lumOff val="25000"/>
                  </a:schemeClr>
                </a:solidFill>
                <a:latin typeface="ACHS Nueva Sans Medium" pitchFamily="2" charset="77"/>
              </a:rPr>
              <a:t>Con respecto a esto, no existe un tratamiento específico, por lo que quienes padecen de esta enfermedad, deben recurrir a un centro hospitalario, de preferencia que posean unidades de terapia intensiva que cuenten con asistencia respiratoria mecánica.</a:t>
            </a:r>
          </a:p>
          <a:p>
            <a:pPr marL="285750" indent="-285750">
              <a:lnSpc>
                <a:spcPct val="100000"/>
              </a:lnSpc>
              <a:spcBef>
                <a:spcPts val="1800"/>
              </a:spcBef>
              <a:buClr>
                <a:schemeClr val="accent1"/>
              </a:buClr>
              <a:buFont typeface="Wingdings" pitchFamily="2" charset="2"/>
              <a:buChar char="§"/>
            </a:pPr>
            <a:endParaRPr lang="es-ES" dirty="0">
              <a:solidFill>
                <a:schemeClr val="accent3">
                  <a:lumMod val="75000"/>
                  <a:lumOff val="25000"/>
                </a:schemeClr>
              </a:solidFill>
              <a:latin typeface="ACHS Nueva Sans Medium" pitchFamily="2" charset="77"/>
            </a:endParaRPr>
          </a:p>
          <a:p>
            <a:pPr marL="285750" indent="-285750">
              <a:lnSpc>
                <a:spcPct val="100000"/>
              </a:lnSpc>
              <a:spcBef>
                <a:spcPts val="1800"/>
              </a:spcBef>
              <a:buClr>
                <a:schemeClr val="accent1"/>
              </a:buClr>
              <a:buFont typeface="Wingdings" pitchFamily="2" charset="2"/>
              <a:buChar char="§"/>
            </a:pPr>
            <a:endParaRPr lang="es-ES" dirty="0">
              <a:solidFill>
                <a:schemeClr val="accent3">
                  <a:lumMod val="75000"/>
                  <a:lumOff val="25000"/>
                </a:schemeClr>
              </a:solidFill>
              <a:latin typeface="ACHS Nueva Sans Medium" pitchFamily="2" charset="77"/>
            </a:endParaRPr>
          </a:p>
        </p:txBody>
      </p:sp>
      <p:sp>
        <p:nvSpPr>
          <p:cNvPr id="9" name="Marcador de texto 4">
            <a:extLst>
              <a:ext uri="{FF2B5EF4-FFF2-40B4-BE49-F238E27FC236}">
                <a16:creationId xmlns:a16="http://schemas.microsoft.com/office/drawing/2014/main" xmlns="" id="{869712B3-6FC2-8142-B70D-238096216E9C}"/>
              </a:ext>
            </a:extLst>
          </p:cNvPr>
          <p:cNvSpPr txBox="1">
            <a:spLocks/>
          </p:cNvSpPr>
          <p:nvPr/>
        </p:nvSpPr>
        <p:spPr>
          <a:xfrm>
            <a:off x="449262" y="496571"/>
            <a:ext cx="9865812" cy="52387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2000" b="0" kern="1200">
                <a:solidFill>
                  <a:schemeClr val="accent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04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609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219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CL" dirty="0">
                <a:latin typeface="ACHS Nueva Serif" pitchFamily="2" charset="77"/>
              </a:rPr>
              <a:t>Conclusiones</a:t>
            </a:r>
          </a:p>
        </p:txBody>
      </p:sp>
      <p:pic>
        <p:nvPicPr>
          <p:cNvPr id="10" name="Imagen 9">
            <a:extLst>
              <a:ext uri="{FF2B5EF4-FFF2-40B4-BE49-F238E27FC236}">
                <a16:creationId xmlns:a16="http://schemas.microsoft.com/office/drawing/2014/main" xmlns="" id="{87691038-D1E1-AC44-9DAC-E52E163F3333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731" t="5023" r="28007" b="5023"/>
          <a:stretch/>
        </p:blipFill>
        <p:spPr>
          <a:xfrm>
            <a:off x="4473574" y="1538288"/>
            <a:ext cx="7718426" cy="5319712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8023765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n 2">
            <a:extLst>
              <a:ext uri="{FF2B5EF4-FFF2-40B4-BE49-F238E27FC236}">
                <a16:creationId xmlns:a16="http://schemas.microsoft.com/office/drawing/2014/main" xmlns="" id="{FC070B7E-CA23-674B-BEE4-C9B9C143A3DE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419" t="8361" b="5736"/>
          <a:stretch/>
        </p:blipFill>
        <p:spPr>
          <a:xfrm>
            <a:off x="4473574" y="1538288"/>
            <a:ext cx="7718426" cy="5319712"/>
          </a:xfrm>
          <a:prstGeom prst="rect">
            <a:avLst/>
          </a:prstGeom>
        </p:spPr>
      </p:pic>
      <p:sp>
        <p:nvSpPr>
          <p:cNvPr id="12" name="Marcador de texto 5">
            <a:extLst>
              <a:ext uri="{FF2B5EF4-FFF2-40B4-BE49-F238E27FC236}">
                <a16:creationId xmlns:a16="http://schemas.microsoft.com/office/drawing/2014/main" xmlns="" id="{C34760D0-66D0-D646-9F53-0F3BDA5B2980}"/>
              </a:ext>
            </a:extLst>
          </p:cNvPr>
          <p:cNvSpPr txBox="1">
            <a:spLocks/>
          </p:cNvSpPr>
          <p:nvPr/>
        </p:nvSpPr>
        <p:spPr>
          <a:xfrm>
            <a:off x="430865" y="1020445"/>
            <a:ext cx="3326126" cy="4584488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1600" b="0" i="0" u="none" strike="noStrike" cap="none" spc="0" baseline="0">
                <a:solidFill>
                  <a:schemeClr val="accent1"/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1pPr>
            <a:lvl2pPr marL="3048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6096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9144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2192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lnSpc>
                <a:spcPct val="100000"/>
              </a:lnSpc>
              <a:spcBef>
                <a:spcPts val="1800"/>
              </a:spcBef>
              <a:buClr>
                <a:schemeClr val="accent1"/>
              </a:buClr>
            </a:pPr>
            <a:r>
              <a:rPr lang="es-ES" dirty="0">
                <a:solidFill>
                  <a:schemeClr val="accent3">
                    <a:lumMod val="75000"/>
                    <a:lumOff val="25000"/>
                  </a:schemeClr>
                </a:solidFill>
                <a:latin typeface="ACHS Nueva Sans Medium" pitchFamily="2" charset="77"/>
              </a:rPr>
              <a:t>Son varios los consejos que se pueden brindar para prevenir el Hantavirus, entre los que destacan:</a:t>
            </a:r>
          </a:p>
          <a:p>
            <a:pPr marL="285750" indent="-285750">
              <a:lnSpc>
                <a:spcPct val="100000"/>
              </a:lnSpc>
              <a:spcBef>
                <a:spcPts val="180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dirty="0">
                <a:solidFill>
                  <a:schemeClr val="accent3">
                    <a:lumMod val="75000"/>
                    <a:lumOff val="25000"/>
                  </a:schemeClr>
                </a:solidFill>
                <a:latin typeface="ACHS Nueva Sans Medium" pitchFamily="2" charset="77"/>
              </a:rPr>
              <a:t>Evitar la convivencia con roedores y el contacto con sus secreciones.</a:t>
            </a:r>
          </a:p>
          <a:p>
            <a:pPr marL="285750" indent="-285750">
              <a:lnSpc>
                <a:spcPct val="100000"/>
              </a:lnSpc>
              <a:spcBef>
                <a:spcPts val="180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dirty="0">
                <a:solidFill>
                  <a:schemeClr val="accent3">
                    <a:lumMod val="75000"/>
                    <a:lumOff val="25000"/>
                  </a:schemeClr>
                </a:solidFill>
                <a:latin typeface="ACHS Nueva Sans Medium" pitchFamily="2" charset="77"/>
              </a:rPr>
              <a:t>No dejar que estos ratones de cola larga entren o hagan nidos en las viviendas.</a:t>
            </a:r>
          </a:p>
          <a:p>
            <a:pPr marL="285750" indent="-285750">
              <a:lnSpc>
                <a:spcPct val="100000"/>
              </a:lnSpc>
              <a:spcBef>
                <a:spcPts val="180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dirty="0">
                <a:solidFill>
                  <a:schemeClr val="accent3">
                    <a:lumMod val="75000"/>
                    <a:lumOff val="25000"/>
                  </a:schemeClr>
                </a:solidFill>
                <a:latin typeface="ACHS Nueva Sans Medium" pitchFamily="2" charset="77"/>
              </a:rPr>
              <a:t>Tapar todos los orificios en puertas, paredes y cañerías y mantener la higiene en la vivienda.</a:t>
            </a:r>
          </a:p>
        </p:txBody>
      </p:sp>
      <p:sp>
        <p:nvSpPr>
          <p:cNvPr id="9" name="Marcador de texto 4">
            <a:extLst>
              <a:ext uri="{FF2B5EF4-FFF2-40B4-BE49-F238E27FC236}">
                <a16:creationId xmlns:a16="http://schemas.microsoft.com/office/drawing/2014/main" xmlns="" id="{869712B3-6FC2-8142-B70D-238096216E9C}"/>
              </a:ext>
            </a:extLst>
          </p:cNvPr>
          <p:cNvSpPr txBox="1">
            <a:spLocks/>
          </p:cNvSpPr>
          <p:nvPr/>
        </p:nvSpPr>
        <p:spPr>
          <a:xfrm>
            <a:off x="449262" y="496571"/>
            <a:ext cx="9865812" cy="52387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2000" b="0" kern="1200">
                <a:solidFill>
                  <a:schemeClr val="accent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04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609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219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CL" dirty="0">
                <a:latin typeface="ACHS Nueva Serif" pitchFamily="2" charset="77"/>
              </a:rPr>
              <a:t>Conclusion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8335945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n 2">
            <a:extLst>
              <a:ext uri="{FF2B5EF4-FFF2-40B4-BE49-F238E27FC236}">
                <a16:creationId xmlns:a16="http://schemas.microsoft.com/office/drawing/2014/main" xmlns="" id="{FC070B7E-CA23-674B-BEE4-C9B9C143A3DE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419" t="8361" b="5736"/>
          <a:stretch/>
        </p:blipFill>
        <p:spPr>
          <a:xfrm>
            <a:off x="4473574" y="1538288"/>
            <a:ext cx="7718426" cy="5319712"/>
          </a:xfrm>
          <a:prstGeom prst="rect">
            <a:avLst/>
          </a:prstGeom>
        </p:spPr>
      </p:pic>
      <p:sp>
        <p:nvSpPr>
          <p:cNvPr id="12" name="Marcador de texto 5">
            <a:extLst>
              <a:ext uri="{FF2B5EF4-FFF2-40B4-BE49-F238E27FC236}">
                <a16:creationId xmlns:a16="http://schemas.microsoft.com/office/drawing/2014/main" xmlns="" id="{C34760D0-66D0-D646-9F53-0F3BDA5B2980}"/>
              </a:ext>
            </a:extLst>
          </p:cNvPr>
          <p:cNvSpPr txBox="1">
            <a:spLocks/>
          </p:cNvSpPr>
          <p:nvPr/>
        </p:nvSpPr>
        <p:spPr>
          <a:xfrm>
            <a:off x="430865" y="1020445"/>
            <a:ext cx="3365883" cy="4584488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1600" b="0" i="0" u="none" strike="noStrike" cap="none" spc="0" baseline="0">
                <a:solidFill>
                  <a:schemeClr val="accent1"/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1pPr>
            <a:lvl2pPr marL="3048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6096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9144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2192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285750" indent="-285750">
              <a:lnSpc>
                <a:spcPct val="100000"/>
              </a:lnSpc>
              <a:spcBef>
                <a:spcPts val="180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dirty="0">
                <a:solidFill>
                  <a:schemeClr val="accent3">
                    <a:lumMod val="75000"/>
                    <a:lumOff val="25000"/>
                  </a:schemeClr>
                </a:solidFill>
                <a:latin typeface="ACHS Nueva Sans Medium" pitchFamily="2" charset="77"/>
              </a:rPr>
              <a:t>Colocar la leña a más de 30 metros de la casa. </a:t>
            </a:r>
          </a:p>
          <a:p>
            <a:pPr marL="285750" indent="-285750">
              <a:lnSpc>
                <a:spcPct val="100000"/>
              </a:lnSpc>
              <a:spcBef>
                <a:spcPts val="180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dirty="0">
                <a:solidFill>
                  <a:schemeClr val="accent3">
                    <a:lumMod val="75000"/>
                    <a:lumOff val="25000"/>
                  </a:schemeClr>
                </a:solidFill>
                <a:latin typeface="ACHS Nueva Sans Medium" pitchFamily="2" charset="77"/>
              </a:rPr>
              <a:t>Cortar la maleza hasta un radio de 30 metros alrededor del domicilio.</a:t>
            </a:r>
          </a:p>
          <a:p>
            <a:pPr marL="285750" indent="-285750">
              <a:lnSpc>
                <a:spcPct val="100000"/>
              </a:lnSpc>
              <a:spcBef>
                <a:spcPts val="180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dirty="0">
                <a:solidFill>
                  <a:schemeClr val="accent3">
                    <a:lumMod val="75000"/>
                    <a:lumOff val="25000"/>
                  </a:schemeClr>
                </a:solidFill>
                <a:latin typeface="ACHS Nueva Sans Medium" pitchFamily="2" charset="77"/>
              </a:rPr>
              <a:t>Ventilar por 30 minutos antes de entrar a lugares que hayan estado cerrados. Cubrirse la boca y la nariz con un pañuelo húmedo antes de ingresar.</a:t>
            </a:r>
          </a:p>
          <a:p>
            <a:pPr marL="285750" indent="-285750">
              <a:lnSpc>
                <a:spcPct val="100000"/>
              </a:lnSpc>
              <a:spcBef>
                <a:spcPts val="1800"/>
              </a:spcBef>
              <a:buClr>
                <a:schemeClr val="accent1"/>
              </a:buClr>
              <a:buFont typeface="Wingdings" pitchFamily="2" charset="2"/>
              <a:buChar char="§"/>
            </a:pPr>
            <a:endParaRPr lang="es-ES" dirty="0">
              <a:solidFill>
                <a:schemeClr val="accent3">
                  <a:lumMod val="75000"/>
                  <a:lumOff val="25000"/>
                </a:schemeClr>
              </a:solidFill>
              <a:latin typeface="ACHS Nueva Sans Medium" pitchFamily="2" charset="77"/>
            </a:endParaRPr>
          </a:p>
        </p:txBody>
      </p:sp>
      <p:sp>
        <p:nvSpPr>
          <p:cNvPr id="9" name="Marcador de texto 4">
            <a:extLst>
              <a:ext uri="{FF2B5EF4-FFF2-40B4-BE49-F238E27FC236}">
                <a16:creationId xmlns:a16="http://schemas.microsoft.com/office/drawing/2014/main" xmlns="" id="{869712B3-6FC2-8142-B70D-238096216E9C}"/>
              </a:ext>
            </a:extLst>
          </p:cNvPr>
          <p:cNvSpPr txBox="1">
            <a:spLocks/>
          </p:cNvSpPr>
          <p:nvPr/>
        </p:nvSpPr>
        <p:spPr>
          <a:xfrm>
            <a:off x="449262" y="496571"/>
            <a:ext cx="9865812" cy="52387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2000" b="0" kern="1200">
                <a:solidFill>
                  <a:schemeClr val="accent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04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609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219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CL" dirty="0">
                <a:latin typeface="ACHS Nueva Serif" pitchFamily="2" charset="77"/>
              </a:rPr>
              <a:t>Conclusion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5980199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n 2">
            <a:extLst>
              <a:ext uri="{FF2B5EF4-FFF2-40B4-BE49-F238E27FC236}">
                <a16:creationId xmlns:a16="http://schemas.microsoft.com/office/drawing/2014/main" xmlns="" id="{292D3CE3-1DA7-1147-9C08-3F123E9CD906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117" t="7737" r="9117" b="7737"/>
          <a:stretch/>
        </p:blipFill>
        <p:spPr>
          <a:xfrm>
            <a:off x="4473575" y="1538288"/>
            <a:ext cx="7718426" cy="5319712"/>
          </a:xfrm>
          <a:prstGeom prst="rect">
            <a:avLst/>
          </a:prstGeom>
        </p:spPr>
      </p:pic>
      <p:sp>
        <p:nvSpPr>
          <p:cNvPr id="12" name="Marcador de texto 5">
            <a:extLst>
              <a:ext uri="{FF2B5EF4-FFF2-40B4-BE49-F238E27FC236}">
                <a16:creationId xmlns:a16="http://schemas.microsoft.com/office/drawing/2014/main" xmlns="" id="{C34760D0-66D0-D646-9F53-0F3BDA5B2980}"/>
              </a:ext>
            </a:extLst>
          </p:cNvPr>
          <p:cNvSpPr txBox="1">
            <a:spLocks/>
          </p:cNvSpPr>
          <p:nvPr/>
        </p:nvSpPr>
        <p:spPr>
          <a:xfrm>
            <a:off x="430865" y="1020444"/>
            <a:ext cx="3405639" cy="5201451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1600" b="0" i="0" u="none" strike="noStrike" cap="none" spc="0" baseline="0">
                <a:solidFill>
                  <a:schemeClr val="accent1"/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1pPr>
            <a:lvl2pPr marL="3048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6096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9144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2192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285750" indent="-285750">
              <a:lnSpc>
                <a:spcPct val="100000"/>
              </a:lnSpc>
              <a:spcBef>
                <a:spcPts val="80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dirty="0">
                <a:solidFill>
                  <a:schemeClr val="accent3">
                    <a:lumMod val="75000"/>
                    <a:lumOff val="25000"/>
                  </a:schemeClr>
                </a:solidFill>
                <a:latin typeface="ACHS Nueva Sans Medium" pitchFamily="2" charset="77"/>
              </a:rPr>
              <a:t>Realizar limpieza profunda del lugar. Humedecer el piso antes de barrer para no levantar polvo.</a:t>
            </a:r>
          </a:p>
          <a:p>
            <a:pPr marL="285750" indent="-285750">
              <a:lnSpc>
                <a:spcPct val="100000"/>
              </a:lnSpc>
              <a:spcBef>
                <a:spcPts val="80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dirty="0">
                <a:solidFill>
                  <a:schemeClr val="accent3">
                    <a:lumMod val="75000"/>
                    <a:lumOff val="25000"/>
                  </a:schemeClr>
                </a:solidFill>
                <a:latin typeface="ACHS Nueva Sans Medium" pitchFamily="2" charset="77"/>
              </a:rPr>
              <a:t>Si se va acampar, hacerlo lejos de malezas o basurales y no dormir directamente sobre el suelo y consumir agua potable.</a:t>
            </a:r>
          </a:p>
          <a:p>
            <a:pPr marL="285750" indent="-285750">
              <a:lnSpc>
                <a:spcPct val="100000"/>
              </a:lnSpc>
              <a:spcBef>
                <a:spcPts val="80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dirty="0">
                <a:solidFill>
                  <a:schemeClr val="accent3">
                    <a:lumMod val="75000"/>
                    <a:lumOff val="25000"/>
                  </a:schemeClr>
                </a:solidFill>
                <a:latin typeface="ACHS Nueva Sans Medium" pitchFamily="2" charset="77"/>
              </a:rPr>
              <a:t>Si encuentra un roedor vivo, entonces ocupar veneno o trampas para capturarlo. </a:t>
            </a:r>
          </a:p>
          <a:p>
            <a:pPr marL="285750" indent="-285750">
              <a:lnSpc>
                <a:spcPct val="100000"/>
              </a:lnSpc>
              <a:spcBef>
                <a:spcPts val="80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dirty="0">
                <a:solidFill>
                  <a:schemeClr val="accent3">
                    <a:lumMod val="75000"/>
                    <a:lumOff val="25000"/>
                  </a:schemeClr>
                </a:solidFill>
                <a:latin typeface="ACHS Nueva Sans Medium" pitchFamily="2" charset="77"/>
              </a:rPr>
              <a:t>Si se encuentra con un ratón muerto, entonces hay que rociarlo en cloro junto con lo que haya podido estar en contacto y esperar cerca de 30 minutos. </a:t>
            </a:r>
          </a:p>
          <a:p>
            <a:pPr marL="285750" indent="-285750">
              <a:lnSpc>
                <a:spcPct val="100000"/>
              </a:lnSpc>
              <a:spcBef>
                <a:spcPts val="80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dirty="0">
                <a:solidFill>
                  <a:schemeClr val="accent3">
                    <a:lumMod val="75000"/>
                    <a:lumOff val="25000"/>
                  </a:schemeClr>
                </a:solidFill>
                <a:latin typeface="ACHS Nueva Sans Medium" pitchFamily="2" charset="77"/>
              </a:rPr>
              <a:t>Luego recogerlo usando guantes y enterrarlo a más de 30 centímetros de profundidad o quemarlo.</a:t>
            </a:r>
          </a:p>
        </p:txBody>
      </p:sp>
      <p:sp>
        <p:nvSpPr>
          <p:cNvPr id="9" name="Marcador de texto 4">
            <a:extLst>
              <a:ext uri="{FF2B5EF4-FFF2-40B4-BE49-F238E27FC236}">
                <a16:creationId xmlns:a16="http://schemas.microsoft.com/office/drawing/2014/main" xmlns="" id="{869712B3-6FC2-8142-B70D-238096216E9C}"/>
              </a:ext>
            </a:extLst>
          </p:cNvPr>
          <p:cNvSpPr txBox="1">
            <a:spLocks/>
          </p:cNvSpPr>
          <p:nvPr/>
        </p:nvSpPr>
        <p:spPr>
          <a:xfrm>
            <a:off x="449262" y="496571"/>
            <a:ext cx="9865812" cy="52387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2000" b="0" kern="1200">
                <a:solidFill>
                  <a:schemeClr val="accent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04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609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219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CL" dirty="0">
                <a:latin typeface="ACHS Nueva Serif" pitchFamily="2" charset="77"/>
              </a:rPr>
              <a:t>Conclusion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800403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B035BA01-3820-0D49-B44E-B4F99E7447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xmlns="" id="{8FF4BCEE-EF67-F649-AF32-944821D8ED1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4" name="Rectángulo 3">
            <a:extLst>
              <a:ext uri="{FF2B5EF4-FFF2-40B4-BE49-F238E27FC236}">
                <a16:creationId xmlns:a16="http://schemas.microsoft.com/office/drawing/2014/main" xmlns="" id="{09574CC7-AE90-D142-A007-56E366130952}"/>
              </a:ext>
            </a:extLst>
          </p:cNvPr>
          <p:cNvSpPr/>
          <p:nvPr/>
        </p:nvSpPr>
        <p:spPr>
          <a:xfrm>
            <a:off x="0" y="1180"/>
            <a:ext cx="12192000" cy="6858000"/>
          </a:xfrm>
          <a:prstGeom prst="rect">
            <a:avLst/>
          </a:prstGeom>
          <a:solidFill>
            <a:srgbClr val="EBE9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dirty="0">
              <a:solidFill>
                <a:prstClr val="white"/>
              </a:solidFill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xmlns="" id="{22AF48BE-1D16-174E-9D61-AAAA6E1FDA71}"/>
              </a:ext>
            </a:extLst>
          </p:cNvPr>
          <p:cNvGrpSpPr>
            <a:grpSpLocks/>
          </p:cNvGrpSpPr>
          <p:nvPr/>
        </p:nvGrpSpPr>
        <p:grpSpPr bwMode="auto">
          <a:xfrm>
            <a:off x="1357049" y="1571875"/>
            <a:ext cx="2203200" cy="3715200"/>
            <a:chOff x="495" y="1002"/>
            <a:chExt cx="258" cy="473"/>
          </a:xfrm>
          <a:solidFill>
            <a:srgbClr val="0CC144"/>
          </a:solidFill>
        </p:grpSpPr>
        <p:sp>
          <p:nvSpPr>
            <p:cNvPr id="6" name="Freeform 5">
              <a:extLst>
                <a:ext uri="{FF2B5EF4-FFF2-40B4-BE49-F238E27FC236}">
                  <a16:creationId xmlns:a16="http://schemas.microsoft.com/office/drawing/2014/main" xmlns="" id="{34DA0A71-997A-6648-A38D-B5CEF703E8A2}"/>
                </a:ext>
              </a:extLst>
            </p:cNvPr>
            <p:cNvSpPr>
              <a:spLocks/>
            </p:cNvSpPr>
            <p:nvPr/>
          </p:nvSpPr>
          <p:spPr bwMode="auto">
            <a:xfrm>
              <a:off x="613" y="1427"/>
              <a:ext cx="22" cy="21"/>
            </a:xfrm>
            <a:custGeom>
              <a:avLst/>
              <a:gdLst>
                <a:gd name="T0" fmla="*/ 18 w 36"/>
                <a:gd name="T1" fmla="*/ 35 h 35"/>
                <a:gd name="T2" fmla="*/ 18 w 36"/>
                <a:gd name="T3" fmla="*/ 35 h 35"/>
                <a:gd name="T4" fmla="*/ 36 w 36"/>
                <a:gd name="T5" fmla="*/ 17 h 35"/>
                <a:gd name="T6" fmla="*/ 18 w 36"/>
                <a:gd name="T7" fmla="*/ 0 h 35"/>
                <a:gd name="T8" fmla="*/ 0 w 36"/>
                <a:gd name="T9" fmla="*/ 17 h 35"/>
                <a:gd name="T10" fmla="*/ 18 w 36"/>
                <a:gd name="T11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6" h="35">
                  <a:moveTo>
                    <a:pt x="18" y="35"/>
                  </a:moveTo>
                  <a:lnTo>
                    <a:pt x="18" y="35"/>
                  </a:lnTo>
                  <a:cubicBezTo>
                    <a:pt x="28" y="35"/>
                    <a:pt x="36" y="27"/>
                    <a:pt x="36" y="17"/>
                  </a:cubicBezTo>
                  <a:cubicBezTo>
                    <a:pt x="36" y="7"/>
                    <a:pt x="28" y="0"/>
                    <a:pt x="18" y="0"/>
                  </a:cubicBezTo>
                  <a:cubicBezTo>
                    <a:pt x="8" y="0"/>
                    <a:pt x="0" y="7"/>
                    <a:pt x="0" y="17"/>
                  </a:cubicBezTo>
                  <a:cubicBezTo>
                    <a:pt x="0" y="27"/>
                    <a:pt x="8" y="35"/>
                    <a:pt x="18" y="3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>
                <a:solidFill>
                  <a:prstClr val="black"/>
                </a:solidFill>
              </a:endParaRPr>
            </a:p>
          </p:txBody>
        </p:sp>
        <p:sp>
          <p:nvSpPr>
            <p:cNvPr id="7" name="Freeform 6">
              <a:extLst>
                <a:ext uri="{FF2B5EF4-FFF2-40B4-BE49-F238E27FC236}">
                  <a16:creationId xmlns:a16="http://schemas.microsoft.com/office/drawing/2014/main" xmlns="" id="{88DFC691-DBE8-004F-A13D-664670C5C7EB}"/>
                </a:ext>
              </a:extLst>
            </p:cNvPr>
            <p:cNvSpPr>
              <a:spLocks/>
            </p:cNvSpPr>
            <p:nvPr/>
          </p:nvSpPr>
          <p:spPr bwMode="auto">
            <a:xfrm>
              <a:off x="602" y="1035"/>
              <a:ext cx="43" cy="22"/>
            </a:xfrm>
            <a:custGeom>
              <a:avLst/>
              <a:gdLst>
                <a:gd name="T0" fmla="*/ 54 w 71"/>
                <a:gd name="T1" fmla="*/ 0 h 36"/>
                <a:gd name="T2" fmla="*/ 54 w 71"/>
                <a:gd name="T3" fmla="*/ 0 h 36"/>
                <a:gd name="T4" fmla="*/ 18 w 71"/>
                <a:gd name="T5" fmla="*/ 0 h 36"/>
                <a:gd name="T6" fmla="*/ 0 w 71"/>
                <a:gd name="T7" fmla="*/ 18 h 36"/>
                <a:gd name="T8" fmla="*/ 18 w 71"/>
                <a:gd name="T9" fmla="*/ 36 h 36"/>
                <a:gd name="T10" fmla="*/ 54 w 71"/>
                <a:gd name="T11" fmla="*/ 36 h 36"/>
                <a:gd name="T12" fmla="*/ 71 w 71"/>
                <a:gd name="T13" fmla="*/ 18 h 36"/>
                <a:gd name="T14" fmla="*/ 54 w 71"/>
                <a:gd name="T15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1" h="36">
                  <a:moveTo>
                    <a:pt x="54" y="0"/>
                  </a:moveTo>
                  <a:lnTo>
                    <a:pt x="54" y="0"/>
                  </a:lnTo>
                  <a:lnTo>
                    <a:pt x="18" y="0"/>
                  </a:lnTo>
                  <a:cubicBezTo>
                    <a:pt x="8" y="0"/>
                    <a:pt x="0" y="8"/>
                    <a:pt x="0" y="18"/>
                  </a:cubicBezTo>
                  <a:cubicBezTo>
                    <a:pt x="0" y="28"/>
                    <a:pt x="8" y="36"/>
                    <a:pt x="18" y="36"/>
                  </a:cubicBezTo>
                  <a:lnTo>
                    <a:pt x="54" y="36"/>
                  </a:lnTo>
                  <a:cubicBezTo>
                    <a:pt x="63" y="36"/>
                    <a:pt x="71" y="28"/>
                    <a:pt x="71" y="18"/>
                  </a:cubicBezTo>
                  <a:cubicBezTo>
                    <a:pt x="71" y="8"/>
                    <a:pt x="63" y="0"/>
                    <a:pt x="54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>
                <a:solidFill>
                  <a:prstClr val="black"/>
                </a:solidFill>
              </a:endParaRPr>
            </a:p>
          </p:txBody>
        </p:sp>
        <p:sp>
          <p:nvSpPr>
            <p:cNvPr id="8" name="Freeform 7">
              <a:extLst>
                <a:ext uri="{FF2B5EF4-FFF2-40B4-BE49-F238E27FC236}">
                  <a16:creationId xmlns:a16="http://schemas.microsoft.com/office/drawing/2014/main" xmlns="" id="{1274D962-464B-6A4E-BB2A-5D7CFEA38C0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5" y="1002"/>
              <a:ext cx="258" cy="473"/>
            </a:xfrm>
            <a:custGeom>
              <a:avLst/>
              <a:gdLst>
                <a:gd name="T0" fmla="*/ 390 w 418"/>
                <a:gd name="T1" fmla="*/ 105 h 772"/>
                <a:gd name="T2" fmla="*/ 390 w 418"/>
                <a:gd name="T3" fmla="*/ 105 h 772"/>
                <a:gd name="T4" fmla="*/ 27 w 418"/>
                <a:gd name="T5" fmla="*/ 105 h 772"/>
                <a:gd name="T6" fmla="*/ 27 w 418"/>
                <a:gd name="T7" fmla="*/ 66 h 772"/>
                <a:gd name="T8" fmla="*/ 67 w 418"/>
                <a:gd name="T9" fmla="*/ 27 h 772"/>
                <a:gd name="T10" fmla="*/ 351 w 418"/>
                <a:gd name="T11" fmla="*/ 27 h 772"/>
                <a:gd name="T12" fmla="*/ 390 w 418"/>
                <a:gd name="T13" fmla="*/ 66 h 772"/>
                <a:gd name="T14" fmla="*/ 390 w 418"/>
                <a:gd name="T15" fmla="*/ 105 h 772"/>
                <a:gd name="T16" fmla="*/ 390 w 418"/>
                <a:gd name="T17" fmla="*/ 638 h 772"/>
                <a:gd name="T18" fmla="*/ 390 w 418"/>
                <a:gd name="T19" fmla="*/ 638 h 772"/>
                <a:gd name="T20" fmla="*/ 27 w 418"/>
                <a:gd name="T21" fmla="*/ 638 h 772"/>
                <a:gd name="T22" fmla="*/ 27 w 418"/>
                <a:gd name="T23" fmla="*/ 133 h 772"/>
                <a:gd name="T24" fmla="*/ 390 w 418"/>
                <a:gd name="T25" fmla="*/ 133 h 772"/>
                <a:gd name="T26" fmla="*/ 390 w 418"/>
                <a:gd name="T27" fmla="*/ 638 h 772"/>
                <a:gd name="T28" fmla="*/ 390 w 418"/>
                <a:gd name="T29" fmla="*/ 705 h 772"/>
                <a:gd name="T30" fmla="*/ 390 w 418"/>
                <a:gd name="T31" fmla="*/ 705 h 772"/>
                <a:gd name="T32" fmla="*/ 351 w 418"/>
                <a:gd name="T33" fmla="*/ 745 h 772"/>
                <a:gd name="T34" fmla="*/ 67 w 418"/>
                <a:gd name="T35" fmla="*/ 745 h 772"/>
                <a:gd name="T36" fmla="*/ 27 w 418"/>
                <a:gd name="T37" fmla="*/ 705 h 772"/>
                <a:gd name="T38" fmla="*/ 27 w 418"/>
                <a:gd name="T39" fmla="*/ 666 h 772"/>
                <a:gd name="T40" fmla="*/ 390 w 418"/>
                <a:gd name="T41" fmla="*/ 666 h 772"/>
                <a:gd name="T42" fmla="*/ 390 w 418"/>
                <a:gd name="T43" fmla="*/ 705 h 772"/>
                <a:gd name="T44" fmla="*/ 351 w 418"/>
                <a:gd name="T45" fmla="*/ 0 h 772"/>
                <a:gd name="T46" fmla="*/ 351 w 418"/>
                <a:gd name="T47" fmla="*/ 0 h 772"/>
                <a:gd name="T48" fmla="*/ 67 w 418"/>
                <a:gd name="T49" fmla="*/ 0 h 772"/>
                <a:gd name="T50" fmla="*/ 0 w 418"/>
                <a:gd name="T51" fmla="*/ 66 h 772"/>
                <a:gd name="T52" fmla="*/ 0 w 418"/>
                <a:gd name="T53" fmla="*/ 705 h 772"/>
                <a:gd name="T54" fmla="*/ 67 w 418"/>
                <a:gd name="T55" fmla="*/ 772 h 772"/>
                <a:gd name="T56" fmla="*/ 351 w 418"/>
                <a:gd name="T57" fmla="*/ 772 h 772"/>
                <a:gd name="T58" fmla="*/ 418 w 418"/>
                <a:gd name="T59" fmla="*/ 705 h 772"/>
                <a:gd name="T60" fmla="*/ 418 w 418"/>
                <a:gd name="T61" fmla="*/ 66 h 772"/>
                <a:gd name="T62" fmla="*/ 351 w 418"/>
                <a:gd name="T63" fmla="*/ 0 h 7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18" h="772">
                  <a:moveTo>
                    <a:pt x="390" y="105"/>
                  </a:moveTo>
                  <a:lnTo>
                    <a:pt x="390" y="105"/>
                  </a:lnTo>
                  <a:lnTo>
                    <a:pt x="27" y="105"/>
                  </a:lnTo>
                  <a:lnTo>
                    <a:pt x="27" y="66"/>
                  </a:lnTo>
                  <a:cubicBezTo>
                    <a:pt x="27" y="44"/>
                    <a:pt x="45" y="27"/>
                    <a:pt x="67" y="27"/>
                  </a:cubicBezTo>
                  <a:lnTo>
                    <a:pt x="351" y="27"/>
                  </a:lnTo>
                  <a:cubicBezTo>
                    <a:pt x="372" y="27"/>
                    <a:pt x="390" y="44"/>
                    <a:pt x="390" y="66"/>
                  </a:cubicBezTo>
                  <a:lnTo>
                    <a:pt x="390" y="105"/>
                  </a:lnTo>
                  <a:close/>
                  <a:moveTo>
                    <a:pt x="390" y="638"/>
                  </a:moveTo>
                  <a:lnTo>
                    <a:pt x="390" y="638"/>
                  </a:lnTo>
                  <a:lnTo>
                    <a:pt x="27" y="638"/>
                  </a:lnTo>
                  <a:lnTo>
                    <a:pt x="27" y="133"/>
                  </a:lnTo>
                  <a:lnTo>
                    <a:pt x="390" y="133"/>
                  </a:lnTo>
                  <a:lnTo>
                    <a:pt x="390" y="638"/>
                  </a:lnTo>
                  <a:close/>
                  <a:moveTo>
                    <a:pt x="390" y="705"/>
                  </a:moveTo>
                  <a:lnTo>
                    <a:pt x="390" y="705"/>
                  </a:lnTo>
                  <a:cubicBezTo>
                    <a:pt x="390" y="727"/>
                    <a:pt x="372" y="745"/>
                    <a:pt x="351" y="745"/>
                  </a:cubicBezTo>
                  <a:lnTo>
                    <a:pt x="67" y="745"/>
                  </a:lnTo>
                  <a:cubicBezTo>
                    <a:pt x="45" y="745"/>
                    <a:pt x="27" y="727"/>
                    <a:pt x="27" y="705"/>
                  </a:cubicBezTo>
                  <a:lnTo>
                    <a:pt x="27" y="666"/>
                  </a:lnTo>
                  <a:lnTo>
                    <a:pt x="390" y="666"/>
                  </a:lnTo>
                  <a:lnTo>
                    <a:pt x="390" y="705"/>
                  </a:lnTo>
                  <a:close/>
                  <a:moveTo>
                    <a:pt x="351" y="0"/>
                  </a:moveTo>
                  <a:lnTo>
                    <a:pt x="351" y="0"/>
                  </a:lnTo>
                  <a:lnTo>
                    <a:pt x="67" y="0"/>
                  </a:lnTo>
                  <a:cubicBezTo>
                    <a:pt x="30" y="0"/>
                    <a:pt x="0" y="29"/>
                    <a:pt x="0" y="66"/>
                  </a:cubicBezTo>
                  <a:lnTo>
                    <a:pt x="0" y="705"/>
                  </a:lnTo>
                  <a:cubicBezTo>
                    <a:pt x="0" y="742"/>
                    <a:pt x="30" y="772"/>
                    <a:pt x="67" y="772"/>
                  </a:cubicBezTo>
                  <a:lnTo>
                    <a:pt x="351" y="772"/>
                  </a:lnTo>
                  <a:cubicBezTo>
                    <a:pt x="388" y="772"/>
                    <a:pt x="418" y="742"/>
                    <a:pt x="418" y="705"/>
                  </a:cubicBezTo>
                  <a:lnTo>
                    <a:pt x="418" y="66"/>
                  </a:lnTo>
                  <a:cubicBezTo>
                    <a:pt x="418" y="29"/>
                    <a:pt x="388" y="0"/>
                    <a:pt x="351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 dirty="0">
                <a:solidFill>
                  <a:prstClr val="black"/>
                </a:solidFill>
              </a:endParaRPr>
            </a:p>
          </p:txBody>
        </p:sp>
      </p:grpSp>
      <p:sp>
        <p:nvSpPr>
          <p:cNvPr id="9" name="Freeform 22">
            <a:extLst>
              <a:ext uri="{FF2B5EF4-FFF2-40B4-BE49-F238E27FC236}">
                <a16:creationId xmlns:a16="http://schemas.microsoft.com/office/drawing/2014/main" xmlns="" id="{916A0246-60AB-E848-807A-41356E60F15C}"/>
              </a:ext>
            </a:extLst>
          </p:cNvPr>
          <p:cNvSpPr>
            <a:spLocks noEditPoints="1"/>
          </p:cNvSpPr>
          <p:nvPr/>
        </p:nvSpPr>
        <p:spPr bwMode="auto">
          <a:xfrm>
            <a:off x="5592763" y="1641600"/>
            <a:ext cx="5284800" cy="3574800"/>
          </a:xfrm>
          <a:custGeom>
            <a:avLst/>
            <a:gdLst>
              <a:gd name="T0" fmla="*/ 43 w 847"/>
              <a:gd name="T1" fmla="*/ 582 h 613"/>
              <a:gd name="T2" fmla="*/ 43 w 847"/>
              <a:gd name="T3" fmla="*/ 582 h 613"/>
              <a:gd name="T4" fmla="*/ 102 w 847"/>
              <a:gd name="T5" fmla="*/ 494 h 613"/>
              <a:gd name="T6" fmla="*/ 105 w 847"/>
              <a:gd name="T7" fmla="*/ 495 h 613"/>
              <a:gd name="T8" fmla="*/ 112 w 847"/>
              <a:gd name="T9" fmla="*/ 496 h 613"/>
              <a:gd name="T10" fmla="*/ 734 w 847"/>
              <a:gd name="T11" fmla="*/ 496 h 613"/>
              <a:gd name="T12" fmla="*/ 741 w 847"/>
              <a:gd name="T13" fmla="*/ 495 h 613"/>
              <a:gd name="T14" fmla="*/ 744 w 847"/>
              <a:gd name="T15" fmla="*/ 494 h 613"/>
              <a:gd name="T16" fmla="*/ 746 w 847"/>
              <a:gd name="T17" fmla="*/ 496 h 613"/>
              <a:gd name="T18" fmla="*/ 803 w 847"/>
              <a:gd name="T19" fmla="*/ 582 h 613"/>
              <a:gd name="T20" fmla="*/ 43 w 847"/>
              <a:gd name="T21" fmla="*/ 582 h 613"/>
              <a:gd name="T22" fmla="*/ 108 w 847"/>
              <a:gd name="T23" fmla="*/ 29 h 613"/>
              <a:gd name="T24" fmla="*/ 108 w 847"/>
              <a:gd name="T25" fmla="*/ 29 h 613"/>
              <a:gd name="T26" fmla="*/ 738 w 847"/>
              <a:gd name="T27" fmla="*/ 29 h 613"/>
              <a:gd name="T28" fmla="*/ 738 w 847"/>
              <a:gd name="T29" fmla="*/ 465 h 613"/>
              <a:gd name="T30" fmla="*/ 108 w 847"/>
              <a:gd name="T31" fmla="*/ 465 h 613"/>
              <a:gd name="T32" fmla="*/ 108 w 847"/>
              <a:gd name="T33" fmla="*/ 29 h 613"/>
              <a:gd name="T34" fmla="*/ 844 w 847"/>
              <a:gd name="T35" fmla="*/ 589 h 613"/>
              <a:gd name="T36" fmla="*/ 844 w 847"/>
              <a:gd name="T37" fmla="*/ 589 h 613"/>
              <a:gd name="T38" fmla="*/ 842 w 847"/>
              <a:gd name="T39" fmla="*/ 585 h 613"/>
              <a:gd name="T40" fmla="*/ 842 w 847"/>
              <a:gd name="T41" fmla="*/ 585 h 613"/>
              <a:gd name="T42" fmla="*/ 767 w 847"/>
              <a:gd name="T43" fmla="*/ 473 h 613"/>
              <a:gd name="T44" fmla="*/ 767 w 847"/>
              <a:gd name="T45" fmla="*/ 471 h 613"/>
              <a:gd name="T46" fmla="*/ 769 w 847"/>
              <a:gd name="T47" fmla="*/ 461 h 613"/>
              <a:gd name="T48" fmla="*/ 769 w 847"/>
              <a:gd name="T49" fmla="*/ 33 h 613"/>
              <a:gd name="T50" fmla="*/ 734 w 847"/>
              <a:gd name="T51" fmla="*/ 0 h 613"/>
              <a:gd name="T52" fmla="*/ 112 w 847"/>
              <a:gd name="T53" fmla="*/ 0 h 613"/>
              <a:gd name="T54" fmla="*/ 77 w 847"/>
              <a:gd name="T55" fmla="*/ 33 h 613"/>
              <a:gd name="T56" fmla="*/ 77 w 847"/>
              <a:gd name="T57" fmla="*/ 461 h 613"/>
              <a:gd name="T58" fmla="*/ 79 w 847"/>
              <a:gd name="T59" fmla="*/ 471 h 613"/>
              <a:gd name="T60" fmla="*/ 79 w 847"/>
              <a:gd name="T61" fmla="*/ 473 h 613"/>
              <a:gd name="T62" fmla="*/ 4 w 847"/>
              <a:gd name="T63" fmla="*/ 585 h 613"/>
              <a:gd name="T64" fmla="*/ 4 w 847"/>
              <a:gd name="T65" fmla="*/ 585 h 613"/>
              <a:gd name="T66" fmla="*/ 2 w 847"/>
              <a:gd name="T67" fmla="*/ 589 h 613"/>
              <a:gd name="T68" fmla="*/ 0 w 847"/>
              <a:gd name="T69" fmla="*/ 597 h 613"/>
              <a:gd name="T70" fmla="*/ 15 w 847"/>
              <a:gd name="T71" fmla="*/ 613 h 613"/>
              <a:gd name="T72" fmla="*/ 831 w 847"/>
              <a:gd name="T73" fmla="*/ 613 h 613"/>
              <a:gd name="T74" fmla="*/ 847 w 847"/>
              <a:gd name="T75" fmla="*/ 597 h 613"/>
              <a:gd name="T76" fmla="*/ 844 w 847"/>
              <a:gd name="T77" fmla="*/ 589 h 6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847" h="613">
                <a:moveTo>
                  <a:pt x="43" y="582"/>
                </a:moveTo>
                <a:lnTo>
                  <a:pt x="43" y="582"/>
                </a:lnTo>
                <a:lnTo>
                  <a:pt x="102" y="494"/>
                </a:lnTo>
                <a:lnTo>
                  <a:pt x="105" y="495"/>
                </a:lnTo>
                <a:cubicBezTo>
                  <a:pt x="108" y="495"/>
                  <a:pt x="110" y="496"/>
                  <a:pt x="112" y="496"/>
                </a:cubicBezTo>
                <a:lnTo>
                  <a:pt x="734" y="496"/>
                </a:lnTo>
                <a:cubicBezTo>
                  <a:pt x="736" y="496"/>
                  <a:pt x="739" y="495"/>
                  <a:pt x="741" y="495"/>
                </a:cubicBezTo>
                <a:lnTo>
                  <a:pt x="744" y="494"/>
                </a:lnTo>
                <a:lnTo>
                  <a:pt x="746" y="496"/>
                </a:lnTo>
                <a:lnTo>
                  <a:pt x="803" y="582"/>
                </a:lnTo>
                <a:lnTo>
                  <a:pt x="43" y="582"/>
                </a:lnTo>
                <a:close/>
                <a:moveTo>
                  <a:pt x="108" y="29"/>
                </a:moveTo>
                <a:lnTo>
                  <a:pt x="108" y="29"/>
                </a:lnTo>
                <a:lnTo>
                  <a:pt x="738" y="29"/>
                </a:lnTo>
                <a:lnTo>
                  <a:pt x="738" y="465"/>
                </a:lnTo>
                <a:lnTo>
                  <a:pt x="108" y="465"/>
                </a:lnTo>
                <a:lnTo>
                  <a:pt x="108" y="29"/>
                </a:lnTo>
                <a:close/>
                <a:moveTo>
                  <a:pt x="844" y="589"/>
                </a:moveTo>
                <a:lnTo>
                  <a:pt x="844" y="589"/>
                </a:lnTo>
                <a:lnTo>
                  <a:pt x="842" y="585"/>
                </a:lnTo>
                <a:lnTo>
                  <a:pt x="842" y="585"/>
                </a:lnTo>
                <a:lnTo>
                  <a:pt x="767" y="473"/>
                </a:lnTo>
                <a:lnTo>
                  <a:pt x="767" y="471"/>
                </a:lnTo>
                <a:cubicBezTo>
                  <a:pt x="768" y="467"/>
                  <a:pt x="769" y="464"/>
                  <a:pt x="769" y="461"/>
                </a:cubicBezTo>
                <a:lnTo>
                  <a:pt x="769" y="33"/>
                </a:lnTo>
                <a:cubicBezTo>
                  <a:pt x="769" y="14"/>
                  <a:pt x="753" y="0"/>
                  <a:pt x="734" y="0"/>
                </a:cubicBezTo>
                <a:lnTo>
                  <a:pt x="112" y="0"/>
                </a:lnTo>
                <a:cubicBezTo>
                  <a:pt x="93" y="0"/>
                  <a:pt x="77" y="14"/>
                  <a:pt x="77" y="33"/>
                </a:cubicBezTo>
                <a:lnTo>
                  <a:pt x="77" y="461"/>
                </a:lnTo>
                <a:cubicBezTo>
                  <a:pt x="77" y="464"/>
                  <a:pt x="78" y="467"/>
                  <a:pt x="79" y="471"/>
                </a:cubicBezTo>
                <a:lnTo>
                  <a:pt x="79" y="473"/>
                </a:lnTo>
                <a:lnTo>
                  <a:pt x="4" y="585"/>
                </a:lnTo>
                <a:lnTo>
                  <a:pt x="4" y="585"/>
                </a:lnTo>
                <a:lnTo>
                  <a:pt x="2" y="589"/>
                </a:lnTo>
                <a:cubicBezTo>
                  <a:pt x="0" y="592"/>
                  <a:pt x="0" y="595"/>
                  <a:pt x="0" y="597"/>
                </a:cubicBezTo>
                <a:cubicBezTo>
                  <a:pt x="0" y="606"/>
                  <a:pt x="6" y="613"/>
                  <a:pt x="15" y="613"/>
                </a:cubicBezTo>
                <a:lnTo>
                  <a:pt x="831" y="613"/>
                </a:lnTo>
                <a:cubicBezTo>
                  <a:pt x="840" y="613"/>
                  <a:pt x="847" y="606"/>
                  <a:pt x="847" y="597"/>
                </a:cubicBezTo>
                <a:cubicBezTo>
                  <a:pt x="847" y="595"/>
                  <a:pt x="846" y="592"/>
                  <a:pt x="844" y="589"/>
                </a:cubicBezTo>
                <a:close/>
              </a:path>
            </a:pathLst>
          </a:custGeom>
          <a:solidFill>
            <a:srgbClr val="0CC144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CL">
              <a:solidFill>
                <a:prstClr val="black"/>
              </a:solidFill>
            </a:endParaRPr>
          </a:p>
        </p:txBody>
      </p:sp>
      <p:sp>
        <p:nvSpPr>
          <p:cNvPr id="10" name="Rectángulo 9">
            <a:extLst>
              <a:ext uri="{FF2B5EF4-FFF2-40B4-BE49-F238E27FC236}">
                <a16:creationId xmlns:a16="http://schemas.microsoft.com/office/drawing/2014/main" xmlns="" id="{E4AD6C16-93E3-E145-953C-336B7AACA87C}"/>
              </a:ext>
            </a:extLst>
          </p:cNvPr>
          <p:cNvSpPr/>
          <p:nvPr/>
        </p:nvSpPr>
        <p:spPr>
          <a:xfrm>
            <a:off x="452954" y="440791"/>
            <a:ext cx="6280887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CL" sz="2000" dirty="0">
                <a:solidFill>
                  <a:srgbClr val="15C047"/>
                </a:solidFill>
                <a:latin typeface="ACHS Nueva Serif" pitchFamily="2" charset="77"/>
                <a:cs typeface="Arial" panose="020B0604020202020204" pitchFamily="34" charset="0"/>
              </a:rPr>
              <a:t>Encuesta de satisfacción – Curso  abierto presencial</a:t>
            </a:r>
          </a:p>
        </p:txBody>
      </p:sp>
      <p:pic>
        <p:nvPicPr>
          <p:cNvPr id="11" name="Imagen 10">
            <a:extLst>
              <a:ext uri="{FF2B5EF4-FFF2-40B4-BE49-F238E27FC236}">
                <a16:creationId xmlns:a16="http://schemas.microsoft.com/office/drawing/2014/main" xmlns="" id="{B6014957-C826-9C45-BC05-9121603F1D0D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79106" y="496800"/>
            <a:ext cx="1239633" cy="506414"/>
          </a:xfrm>
          <a:prstGeom prst="rect">
            <a:avLst/>
          </a:prstGeom>
        </p:spPr>
      </p:pic>
      <p:cxnSp>
        <p:nvCxnSpPr>
          <p:cNvPr id="12" name="Conector recto 11">
            <a:extLst>
              <a:ext uri="{FF2B5EF4-FFF2-40B4-BE49-F238E27FC236}">
                <a16:creationId xmlns:a16="http://schemas.microsoft.com/office/drawing/2014/main" xmlns="" id="{6074E660-AA37-9E45-8D6E-CAAC7EB0A77B}"/>
              </a:ext>
            </a:extLst>
          </p:cNvPr>
          <p:cNvCxnSpPr>
            <a:cxnSpLocks/>
          </p:cNvCxnSpPr>
          <p:nvPr/>
        </p:nvCxnSpPr>
        <p:spPr>
          <a:xfrm>
            <a:off x="535129" y="386604"/>
            <a:ext cx="1297221" cy="0"/>
          </a:xfrm>
          <a:prstGeom prst="line">
            <a:avLst/>
          </a:prstGeom>
          <a:noFill/>
          <a:ln w="22225" cap="flat">
            <a:solidFill>
              <a:srgbClr val="13C045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3" name="Rectángulo 12">
            <a:extLst>
              <a:ext uri="{FF2B5EF4-FFF2-40B4-BE49-F238E27FC236}">
                <a16:creationId xmlns:a16="http://schemas.microsoft.com/office/drawing/2014/main" xmlns="" id="{F0CB735D-06B5-B341-AC4F-A43926FC2125}"/>
              </a:ext>
            </a:extLst>
          </p:cNvPr>
          <p:cNvSpPr/>
          <p:nvPr/>
        </p:nvSpPr>
        <p:spPr>
          <a:xfrm>
            <a:off x="1357049" y="5488534"/>
            <a:ext cx="222018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CL" sz="1600" b="1" dirty="0">
                <a:solidFill>
                  <a:srgbClr val="15C047"/>
                </a:solidFill>
                <a:latin typeface="ACHS Nueva Sans" pitchFamily="2" charset="77"/>
                <a:cs typeface="Arial" panose="020B0604020202020204" pitchFamily="34" charset="0"/>
              </a:rPr>
              <a:t>Escanea este código</a:t>
            </a:r>
          </a:p>
        </p:txBody>
      </p:sp>
      <p:sp>
        <p:nvSpPr>
          <p:cNvPr id="14" name="Rectángulo 13">
            <a:extLst>
              <a:ext uri="{FF2B5EF4-FFF2-40B4-BE49-F238E27FC236}">
                <a16:creationId xmlns:a16="http://schemas.microsoft.com/office/drawing/2014/main" xmlns="" id="{94D5BD24-B25B-0348-81AE-8B0005A9356E}"/>
              </a:ext>
            </a:extLst>
          </p:cNvPr>
          <p:cNvSpPr/>
          <p:nvPr/>
        </p:nvSpPr>
        <p:spPr>
          <a:xfrm>
            <a:off x="7366082" y="5488534"/>
            <a:ext cx="222018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CL" sz="1600" b="1" dirty="0">
                <a:solidFill>
                  <a:srgbClr val="15C047"/>
                </a:solidFill>
                <a:latin typeface="ACHS Nueva Sans" pitchFamily="2" charset="77"/>
                <a:cs typeface="Arial" panose="020B0604020202020204" pitchFamily="34" charset="0"/>
              </a:rPr>
              <a:t>O ingresa a este link</a:t>
            </a:r>
          </a:p>
        </p:txBody>
      </p:sp>
      <p:sp>
        <p:nvSpPr>
          <p:cNvPr id="17" name="Marcador de texto 11">
            <a:extLst>
              <a:ext uri="{FF2B5EF4-FFF2-40B4-BE49-F238E27FC236}">
                <a16:creationId xmlns:a16="http://schemas.microsoft.com/office/drawing/2014/main" xmlns="" id="{792C80F6-197E-164E-929B-FF5B71010328}"/>
              </a:ext>
            </a:extLst>
          </p:cNvPr>
          <p:cNvSpPr txBox="1">
            <a:spLocks/>
          </p:cNvSpPr>
          <p:nvPr/>
        </p:nvSpPr>
        <p:spPr>
          <a:xfrm>
            <a:off x="5958451" y="2923972"/>
            <a:ext cx="4766959" cy="523875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ctr" defTabSz="1218406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95000"/>
              <a:buFontTx/>
              <a:buNone/>
              <a:tabLst/>
              <a:defRPr sz="1700" b="1" i="0" u="none" strike="noStrike" cap="none" spc="0" baseline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676275" marR="0" indent="-371475" algn="ctr" defTabSz="1218406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tabLst/>
              <a:defRPr lang="es-ES" sz="1600" b="1" i="0" u="none" strike="noStrike" cap="none" spc="0" baseline="0" dirty="0" smtClean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030288" marR="0" indent="-333375" algn="ctr" defTabSz="1218406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50000"/>
              <a:buFontTx/>
              <a:buBlip>
                <a:blip r:embed="rId4">
                  <a:extLst>
                    <a:ext uri="{96DAC541-7B7A-43D3-8B79-37D633B846F1}">
                      <asvg:svgBlip xmlns:asvg="http://schemas.microsoft.com/office/drawing/2016/SVG/main" xmlns="" r:embed="rId5"/>
                    </a:ext>
                  </a:extLst>
                </a:blip>
              </a:buBlip>
              <a:tabLst/>
              <a:defRPr sz="1400" b="1" i="0" u="none" strike="noStrike" cap="none" spc="0" baseline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1342232" marR="0" indent="-332582" algn="ctr" defTabSz="1218406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50000"/>
              <a:buFontTx/>
              <a:buBlip>
                <a:blip r:embed="rId4">
                  <a:extLst>
                    <a:ext uri="{96DAC541-7B7A-43D3-8B79-37D633B846F1}">
                      <asvg:svgBlip xmlns:asvg="http://schemas.microsoft.com/office/drawing/2016/SVG/main" xmlns="" r:embed="rId5"/>
                    </a:ext>
                  </a:extLst>
                </a:blip>
              </a:buBlip>
              <a:tabLst/>
              <a:defRPr sz="1400" b="1" i="0" u="none" strike="noStrike" cap="none" spc="0" baseline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675607" marR="0" indent="-364332" algn="ctr" defTabSz="1218406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50000"/>
              <a:buFontTx/>
              <a:buBlip>
                <a:blip r:embed="rId4">
                  <a:extLst>
                    <a:ext uri="{96DAC541-7B7A-43D3-8B79-37D633B846F1}">
                      <asvg:svgBlip xmlns:asvg="http://schemas.microsoft.com/office/drawing/2016/SVG/main" xmlns="" r:embed="rId5"/>
                    </a:ext>
                  </a:extLst>
                </a:blip>
              </a:buBlip>
              <a:tabLst>
                <a:tab pos="1571625" algn="l"/>
              </a:tabLst>
              <a:defRPr sz="1400" b="1" i="0" u="none" strike="noStrike" cap="none" spc="0" baseline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buClr>
                <a:srgbClr val="83B727"/>
              </a:buClr>
              <a:defRPr/>
            </a:pPr>
            <a:r>
              <a:rPr lang="es-CL" sz="2400" b="0" u="sng" kern="0" dirty="0">
                <a:solidFill>
                  <a:srgbClr val="00C42A"/>
                </a:solidFill>
                <a:latin typeface="ACHS Nueva Sans" pitchFamily="2" charset="77"/>
              </a:rPr>
              <a:t>tinyurl.com/26vbepn4</a:t>
            </a:r>
          </a:p>
        </p:txBody>
      </p:sp>
      <p:pic>
        <p:nvPicPr>
          <p:cNvPr id="18" name="Imagen 17">
            <a:extLst>
              <a:ext uri="{FF2B5EF4-FFF2-40B4-BE49-F238E27FC236}">
                <a16:creationId xmlns:a16="http://schemas.microsoft.com/office/drawing/2014/main" xmlns="" id="{34643A48-629B-8542-A236-DED458AE96D4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657118" y="2627956"/>
            <a:ext cx="1625051" cy="1628874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75212634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ángulo redondeado 9">
            <a:extLst>
              <a:ext uri="{FF2B5EF4-FFF2-40B4-BE49-F238E27FC236}">
                <a16:creationId xmlns:a16="http://schemas.microsoft.com/office/drawing/2014/main" xmlns="" id="{E7654E2E-E67F-0C4D-A182-4C63FB3991C4}"/>
              </a:ext>
            </a:extLst>
          </p:cNvPr>
          <p:cNvSpPr/>
          <p:nvPr/>
        </p:nvSpPr>
        <p:spPr>
          <a:xfrm>
            <a:off x="1388762" y="2093886"/>
            <a:ext cx="1100438" cy="321865"/>
          </a:xfrm>
          <a:prstGeom prst="roundRect">
            <a:avLst>
              <a:gd name="adj" fmla="val 26667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dirty="0">
              <a:solidFill>
                <a:schemeClr val="bg2"/>
              </a:solidFill>
            </a:endParaRPr>
          </a:p>
        </p:txBody>
      </p:sp>
      <p:sp>
        <p:nvSpPr>
          <p:cNvPr id="5" name="Marcador de texto 4">
            <a:extLst>
              <a:ext uri="{FF2B5EF4-FFF2-40B4-BE49-F238E27FC236}">
                <a16:creationId xmlns:a16="http://schemas.microsoft.com/office/drawing/2014/main" xmlns="" id="{48B5E83E-7C2D-A244-8752-4DF4034F3A5B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/>
        <p:txBody>
          <a:bodyPr/>
          <a:lstStyle/>
          <a:p>
            <a:r>
              <a:rPr lang="es-ES" dirty="0">
                <a:latin typeface="ACHS Nueva Serif" pitchFamily="2" charset="77"/>
              </a:rPr>
              <a:t>Objetivo del curso</a:t>
            </a:r>
          </a:p>
        </p:txBody>
      </p:sp>
      <p:sp>
        <p:nvSpPr>
          <p:cNvPr id="7" name="Marcador de texto 4">
            <a:extLst>
              <a:ext uri="{FF2B5EF4-FFF2-40B4-BE49-F238E27FC236}">
                <a16:creationId xmlns:a16="http://schemas.microsoft.com/office/drawing/2014/main" xmlns="" id="{1604DFED-2FA4-CD48-8413-1162F6E90292}"/>
              </a:ext>
            </a:extLst>
          </p:cNvPr>
          <p:cNvSpPr txBox="1">
            <a:spLocks/>
          </p:cNvSpPr>
          <p:nvPr/>
        </p:nvSpPr>
        <p:spPr>
          <a:xfrm>
            <a:off x="449263" y="2841171"/>
            <a:ext cx="4792208" cy="1184729"/>
          </a:xfrm>
          <a:prstGeom prst="rect">
            <a:avLst/>
          </a:prstGeom>
        </p:spPr>
        <p:txBody>
          <a:bodyPr/>
          <a:lstStyle>
            <a:lvl1pPr marL="285750" indent="-28575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6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590550" indent="-28575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tabLst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895350" indent="-28575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Arial" panose="020B0604020202020204" pitchFamily="34" charset="0"/>
              <a:buChar char="-"/>
              <a:tabLst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200150" indent="-28575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Arial" panose="020B0604020202020204" pitchFamily="34" charset="0"/>
              <a:buChar char="-"/>
              <a:tabLst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504950" indent="-28575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Arial" panose="020B0604020202020204" pitchFamily="34" charset="0"/>
              <a:buChar char="-"/>
              <a:tabLst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ES" dirty="0">
                <a:solidFill>
                  <a:schemeClr val="tx1"/>
                </a:solidFill>
                <a:latin typeface="ACHS Nueva Sans Medium" pitchFamily="2" charset="77"/>
              </a:rPr>
              <a:t>Ser trabajador de empresas que se encuentra adheridas a la ACHS y que por su trabajo se encuentren expuestos a contraer hantavirus.</a:t>
            </a:r>
          </a:p>
        </p:txBody>
      </p:sp>
      <p:sp>
        <p:nvSpPr>
          <p:cNvPr id="8" name="Marcador de texto 7">
            <a:extLst>
              <a:ext uri="{FF2B5EF4-FFF2-40B4-BE49-F238E27FC236}">
                <a16:creationId xmlns:a16="http://schemas.microsoft.com/office/drawing/2014/main" xmlns="" id="{86DA05A2-E962-2A45-B547-415D3AA18A95}"/>
              </a:ext>
            </a:extLst>
          </p:cNvPr>
          <p:cNvSpPr txBox="1">
            <a:spLocks/>
          </p:cNvSpPr>
          <p:nvPr/>
        </p:nvSpPr>
        <p:spPr>
          <a:xfrm>
            <a:off x="436561" y="2157287"/>
            <a:ext cx="2996067" cy="229132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16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04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609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219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CL" b="1" dirty="0">
                <a:solidFill>
                  <a:schemeClr val="bg2"/>
                </a:solidFill>
                <a:latin typeface="ACHS Nueva Serif" pitchFamily="2" charset="77"/>
              </a:rPr>
              <a:t>PÚBLICO OBJETIVO</a:t>
            </a:r>
          </a:p>
        </p:txBody>
      </p:sp>
      <p:pic>
        <p:nvPicPr>
          <p:cNvPr id="9" name="Imagen 8">
            <a:extLst>
              <a:ext uri="{FF2B5EF4-FFF2-40B4-BE49-F238E27FC236}">
                <a16:creationId xmlns:a16="http://schemas.microsoft.com/office/drawing/2014/main" xmlns="" id="{D156A987-4EF5-3249-BE16-4B0E6723640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760029" y="2093886"/>
            <a:ext cx="4792208" cy="479220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0780374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1F0317DA-7C74-1548-9D23-0BFB8866CF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xmlns="" id="{7CC3F05D-7E38-9645-BAA9-459EE8109A5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4" name="Rectángulo 3">
            <a:extLst>
              <a:ext uri="{FF2B5EF4-FFF2-40B4-BE49-F238E27FC236}">
                <a16:creationId xmlns:a16="http://schemas.microsoft.com/office/drawing/2014/main" xmlns="" id="{52BD712E-6A3D-4342-B8CA-C4A51CDB477B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EBE9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dirty="0">
              <a:solidFill>
                <a:srgbClr val="13C045"/>
              </a:solidFill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xmlns="" id="{B63C7CAB-FA4F-1745-9571-70574C4DB2EB}"/>
              </a:ext>
            </a:extLst>
          </p:cNvPr>
          <p:cNvGrpSpPr>
            <a:grpSpLocks/>
          </p:cNvGrpSpPr>
          <p:nvPr/>
        </p:nvGrpSpPr>
        <p:grpSpPr bwMode="auto">
          <a:xfrm>
            <a:off x="1357049" y="1571875"/>
            <a:ext cx="2203200" cy="3715200"/>
            <a:chOff x="495" y="1002"/>
            <a:chExt cx="258" cy="473"/>
          </a:xfrm>
          <a:solidFill>
            <a:srgbClr val="0CC144"/>
          </a:solidFill>
        </p:grpSpPr>
        <p:sp>
          <p:nvSpPr>
            <p:cNvPr id="6" name="Freeform 5">
              <a:extLst>
                <a:ext uri="{FF2B5EF4-FFF2-40B4-BE49-F238E27FC236}">
                  <a16:creationId xmlns:a16="http://schemas.microsoft.com/office/drawing/2014/main" xmlns="" id="{9CBA5BF2-5B2A-484C-8814-AFFB5F9CD650}"/>
                </a:ext>
              </a:extLst>
            </p:cNvPr>
            <p:cNvSpPr>
              <a:spLocks/>
            </p:cNvSpPr>
            <p:nvPr/>
          </p:nvSpPr>
          <p:spPr bwMode="auto">
            <a:xfrm>
              <a:off x="613" y="1427"/>
              <a:ext cx="22" cy="21"/>
            </a:xfrm>
            <a:custGeom>
              <a:avLst/>
              <a:gdLst>
                <a:gd name="T0" fmla="*/ 18 w 36"/>
                <a:gd name="T1" fmla="*/ 35 h 35"/>
                <a:gd name="T2" fmla="*/ 18 w 36"/>
                <a:gd name="T3" fmla="*/ 35 h 35"/>
                <a:gd name="T4" fmla="*/ 36 w 36"/>
                <a:gd name="T5" fmla="*/ 17 h 35"/>
                <a:gd name="T6" fmla="*/ 18 w 36"/>
                <a:gd name="T7" fmla="*/ 0 h 35"/>
                <a:gd name="T8" fmla="*/ 0 w 36"/>
                <a:gd name="T9" fmla="*/ 17 h 35"/>
                <a:gd name="T10" fmla="*/ 18 w 36"/>
                <a:gd name="T11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6" h="35">
                  <a:moveTo>
                    <a:pt x="18" y="35"/>
                  </a:moveTo>
                  <a:lnTo>
                    <a:pt x="18" y="35"/>
                  </a:lnTo>
                  <a:cubicBezTo>
                    <a:pt x="28" y="35"/>
                    <a:pt x="36" y="27"/>
                    <a:pt x="36" y="17"/>
                  </a:cubicBezTo>
                  <a:cubicBezTo>
                    <a:pt x="36" y="7"/>
                    <a:pt x="28" y="0"/>
                    <a:pt x="18" y="0"/>
                  </a:cubicBezTo>
                  <a:cubicBezTo>
                    <a:pt x="8" y="0"/>
                    <a:pt x="0" y="7"/>
                    <a:pt x="0" y="17"/>
                  </a:cubicBezTo>
                  <a:cubicBezTo>
                    <a:pt x="0" y="27"/>
                    <a:pt x="8" y="35"/>
                    <a:pt x="18" y="3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>
                <a:solidFill>
                  <a:prstClr val="black"/>
                </a:solidFill>
              </a:endParaRPr>
            </a:p>
          </p:txBody>
        </p:sp>
        <p:sp>
          <p:nvSpPr>
            <p:cNvPr id="7" name="Freeform 6">
              <a:extLst>
                <a:ext uri="{FF2B5EF4-FFF2-40B4-BE49-F238E27FC236}">
                  <a16:creationId xmlns:a16="http://schemas.microsoft.com/office/drawing/2014/main" xmlns="" id="{4E3359A4-44E0-1547-8EA4-A8EF46656606}"/>
                </a:ext>
              </a:extLst>
            </p:cNvPr>
            <p:cNvSpPr>
              <a:spLocks/>
            </p:cNvSpPr>
            <p:nvPr/>
          </p:nvSpPr>
          <p:spPr bwMode="auto">
            <a:xfrm>
              <a:off x="602" y="1035"/>
              <a:ext cx="43" cy="22"/>
            </a:xfrm>
            <a:custGeom>
              <a:avLst/>
              <a:gdLst>
                <a:gd name="T0" fmla="*/ 54 w 71"/>
                <a:gd name="T1" fmla="*/ 0 h 36"/>
                <a:gd name="T2" fmla="*/ 54 w 71"/>
                <a:gd name="T3" fmla="*/ 0 h 36"/>
                <a:gd name="T4" fmla="*/ 18 w 71"/>
                <a:gd name="T5" fmla="*/ 0 h 36"/>
                <a:gd name="T6" fmla="*/ 0 w 71"/>
                <a:gd name="T7" fmla="*/ 18 h 36"/>
                <a:gd name="T8" fmla="*/ 18 w 71"/>
                <a:gd name="T9" fmla="*/ 36 h 36"/>
                <a:gd name="T10" fmla="*/ 54 w 71"/>
                <a:gd name="T11" fmla="*/ 36 h 36"/>
                <a:gd name="T12" fmla="*/ 71 w 71"/>
                <a:gd name="T13" fmla="*/ 18 h 36"/>
                <a:gd name="T14" fmla="*/ 54 w 71"/>
                <a:gd name="T15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1" h="36">
                  <a:moveTo>
                    <a:pt x="54" y="0"/>
                  </a:moveTo>
                  <a:lnTo>
                    <a:pt x="54" y="0"/>
                  </a:lnTo>
                  <a:lnTo>
                    <a:pt x="18" y="0"/>
                  </a:lnTo>
                  <a:cubicBezTo>
                    <a:pt x="8" y="0"/>
                    <a:pt x="0" y="8"/>
                    <a:pt x="0" y="18"/>
                  </a:cubicBezTo>
                  <a:cubicBezTo>
                    <a:pt x="0" y="28"/>
                    <a:pt x="8" y="36"/>
                    <a:pt x="18" y="36"/>
                  </a:cubicBezTo>
                  <a:lnTo>
                    <a:pt x="54" y="36"/>
                  </a:lnTo>
                  <a:cubicBezTo>
                    <a:pt x="63" y="36"/>
                    <a:pt x="71" y="28"/>
                    <a:pt x="71" y="18"/>
                  </a:cubicBezTo>
                  <a:cubicBezTo>
                    <a:pt x="71" y="8"/>
                    <a:pt x="63" y="0"/>
                    <a:pt x="54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>
                <a:solidFill>
                  <a:prstClr val="black"/>
                </a:solidFill>
              </a:endParaRPr>
            </a:p>
          </p:txBody>
        </p:sp>
        <p:sp>
          <p:nvSpPr>
            <p:cNvPr id="8" name="Freeform 7">
              <a:extLst>
                <a:ext uri="{FF2B5EF4-FFF2-40B4-BE49-F238E27FC236}">
                  <a16:creationId xmlns:a16="http://schemas.microsoft.com/office/drawing/2014/main" xmlns="" id="{50DEDFD7-C412-3C40-AB72-78E8FFC623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5" y="1002"/>
              <a:ext cx="258" cy="473"/>
            </a:xfrm>
            <a:custGeom>
              <a:avLst/>
              <a:gdLst>
                <a:gd name="T0" fmla="*/ 390 w 418"/>
                <a:gd name="T1" fmla="*/ 105 h 772"/>
                <a:gd name="T2" fmla="*/ 390 w 418"/>
                <a:gd name="T3" fmla="*/ 105 h 772"/>
                <a:gd name="T4" fmla="*/ 27 w 418"/>
                <a:gd name="T5" fmla="*/ 105 h 772"/>
                <a:gd name="T6" fmla="*/ 27 w 418"/>
                <a:gd name="T7" fmla="*/ 66 h 772"/>
                <a:gd name="T8" fmla="*/ 67 w 418"/>
                <a:gd name="T9" fmla="*/ 27 h 772"/>
                <a:gd name="T10" fmla="*/ 351 w 418"/>
                <a:gd name="T11" fmla="*/ 27 h 772"/>
                <a:gd name="T12" fmla="*/ 390 w 418"/>
                <a:gd name="T13" fmla="*/ 66 h 772"/>
                <a:gd name="T14" fmla="*/ 390 w 418"/>
                <a:gd name="T15" fmla="*/ 105 h 772"/>
                <a:gd name="T16" fmla="*/ 390 w 418"/>
                <a:gd name="T17" fmla="*/ 638 h 772"/>
                <a:gd name="T18" fmla="*/ 390 w 418"/>
                <a:gd name="T19" fmla="*/ 638 h 772"/>
                <a:gd name="T20" fmla="*/ 27 w 418"/>
                <a:gd name="T21" fmla="*/ 638 h 772"/>
                <a:gd name="T22" fmla="*/ 27 w 418"/>
                <a:gd name="T23" fmla="*/ 133 h 772"/>
                <a:gd name="T24" fmla="*/ 390 w 418"/>
                <a:gd name="T25" fmla="*/ 133 h 772"/>
                <a:gd name="T26" fmla="*/ 390 w 418"/>
                <a:gd name="T27" fmla="*/ 638 h 772"/>
                <a:gd name="T28" fmla="*/ 390 w 418"/>
                <a:gd name="T29" fmla="*/ 705 h 772"/>
                <a:gd name="T30" fmla="*/ 390 w 418"/>
                <a:gd name="T31" fmla="*/ 705 h 772"/>
                <a:gd name="T32" fmla="*/ 351 w 418"/>
                <a:gd name="T33" fmla="*/ 745 h 772"/>
                <a:gd name="T34" fmla="*/ 67 w 418"/>
                <a:gd name="T35" fmla="*/ 745 h 772"/>
                <a:gd name="T36" fmla="*/ 27 w 418"/>
                <a:gd name="T37" fmla="*/ 705 h 772"/>
                <a:gd name="T38" fmla="*/ 27 w 418"/>
                <a:gd name="T39" fmla="*/ 666 h 772"/>
                <a:gd name="T40" fmla="*/ 390 w 418"/>
                <a:gd name="T41" fmla="*/ 666 h 772"/>
                <a:gd name="T42" fmla="*/ 390 w 418"/>
                <a:gd name="T43" fmla="*/ 705 h 772"/>
                <a:gd name="T44" fmla="*/ 351 w 418"/>
                <a:gd name="T45" fmla="*/ 0 h 772"/>
                <a:gd name="T46" fmla="*/ 351 w 418"/>
                <a:gd name="T47" fmla="*/ 0 h 772"/>
                <a:gd name="T48" fmla="*/ 67 w 418"/>
                <a:gd name="T49" fmla="*/ 0 h 772"/>
                <a:gd name="T50" fmla="*/ 0 w 418"/>
                <a:gd name="T51" fmla="*/ 66 h 772"/>
                <a:gd name="T52" fmla="*/ 0 w 418"/>
                <a:gd name="T53" fmla="*/ 705 h 772"/>
                <a:gd name="T54" fmla="*/ 67 w 418"/>
                <a:gd name="T55" fmla="*/ 772 h 772"/>
                <a:gd name="T56" fmla="*/ 351 w 418"/>
                <a:gd name="T57" fmla="*/ 772 h 772"/>
                <a:gd name="T58" fmla="*/ 418 w 418"/>
                <a:gd name="T59" fmla="*/ 705 h 772"/>
                <a:gd name="T60" fmla="*/ 418 w 418"/>
                <a:gd name="T61" fmla="*/ 66 h 772"/>
                <a:gd name="T62" fmla="*/ 351 w 418"/>
                <a:gd name="T63" fmla="*/ 0 h 7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18" h="772">
                  <a:moveTo>
                    <a:pt x="390" y="105"/>
                  </a:moveTo>
                  <a:lnTo>
                    <a:pt x="390" y="105"/>
                  </a:lnTo>
                  <a:lnTo>
                    <a:pt x="27" y="105"/>
                  </a:lnTo>
                  <a:lnTo>
                    <a:pt x="27" y="66"/>
                  </a:lnTo>
                  <a:cubicBezTo>
                    <a:pt x="27" y="44"/>
                    <a:pt x="45" y="27"/>
                    <a:pt x="67" y="27"/>
                  </a:cubicBezTo>
                  <a:lnTo>
                    <a:pt x="351" y="27"/>
                  </a:lnTo>
                  <a:cubicBezTo>
                    <a:pt x="372" y="27"/>
                    <a:pt x="390" y="44"/>
                    <a:pt x="390" y="66"/>
                  </a:cubicBezTo>
                  <a:lnTo>
                    <a:pt x="390" y="105"/>
                  </a:lnTo>
                  <a:close/>
                  <a:moveTo>
                    <a:pt x="390" y="638"/>
                  </a:moveTo>
                  <a:lnTo>
                    <a:pt x="390" y="638"/>
                  </a:lnTo>
                  <a:lnTo>
                    <a:pt x="27" y="638"/>
                  </a:lnTo>
                  <a:lnTo>
                    <a:pt x="27" y="133"/>
                  </a:lnTo>
                  <a:lnTo>
                    <a:pt x="390" y="133"/>
                  </a:lnTo>
                  <a:lnTo>
                    <a:pt x="390" y="638"/>
                  </a:lnTo>
                  <a:close/>
                  <a:moveTo>
                    <a:pt x="390" y="705"/>
                  </a:moveTo>
                  <a:lnTo>
                    <a:pt x="390" y="705"/>
                  </a:lnTo>
                  <a:cubicBezTo>
                    <a:pt x="390" y="727"/>
                    <a:pt x="372" y="745"/>
                    <a:pt x="351" y="745"/>
                  </a:cubicBezTo>
                  <a:lnTo>
                    <a:pt x="67" y="745"/>
                  </a:lnTo>
                  <a:cubicBezTo>
                    <a:pt x="45" y="745"/>
                    <a:pt x="27" y="727"/>
                    <a:pt x="27" y="705"/>
                  </a:cubicBezTo>
                  <a:lnTo>
                    <a:pt x="27" y="666"/>
                  </a:lnTo>
                  <a:lnTo>
                    <a:pt x="390" y="666"/>
                  </a:lnTo>
                  <a:lnTo>
                    <a:pt x="390" y="705"/>
                  </a:lnTo>
                  <a:close/>
                  <a:moveTo>
                    <a:pt x="351" y="0"/>
                  </a:moveTo>
                  <a:lnTo>
                    <a:pt x="351" y="0"/>
                  </a:lnTo>
                  <a:lnTo>
                    <a:pt x="67" y="0"/>
                  </a:lnTo>
                  <a:cubicBezTo>
                    <a:pt x="30" y="0"/>
                    <a:pt x="0" y="29"/>
                    <a:pt x="0" y="66"/>
                  </a:cubicBezTo>
                  <a:lnTo>
                    <a:pt x="0" y="705"/>
                  </a:lnTo>
                  <a:cubicBezTo>
                    <a:pt x="0" y="742"/>
                    <a:pt x="30" y="772"/>
                    <a:pt x="67" y="772"/>
                  </a:cubicBezTo>
                  <a:lnTo>
                    <a:pt x="351" y="772"/>
                  </a:lnTo>
                  <a:cubicBezTo>
                    <a:pt x="388" y="772"/>
                    <a:pt x="418" y="742"/>
                    <a:pt x="418" y="705"/>
                  </a:cubicBezTo>
                  <a:lnTo>
                    <a:pt x="418" y="66"/>
                  </a:lnTo>
                  <a:cubicBezTo>
                    <a:pt x="418" y="29"/>
                    <a:pt x="388" y="0"/>
                    <a:pt x="351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 dirty="0">
                <a:solidFill>
                  <a:prstClr val="black"/>
                </a:solidFill>
              </a:endParaRPr>
            </a:p>
          </p:txBody>
        </p:sp>
      </p:grpSp>
      <p:sp>
        <p:nvSpPr>
          <p:cNvPr id="9" name="Freeform 22">
            <a:extLst>
              <a:ext uri="{FF2B5EF4-FFF2-40B4-BE49-F238E27FC236}">
                <a16:creationId xmlns:a16="http://schemas.microsoft.com/office/drawing/2014/main" xmlns="" id="{255B9AF1-52CC-2343-85D3-3845CBB0F8CC}"/>
              </a:ext>
            </a:extLst>
          </p:cNvPr>
          <p:cNvSpPr>
            <a:spLocks noEditPoints="1"/>
          </p:cNvSpPr>
          <p:nvPr/>
        </p:nvSpPr>
        <p:spPr bwMode="auto">
          <a:xfrm>
            <a:off x="5592763" y="1641600"/>
            <a:ext cx="5284800" cy="3574800"/>
          </a:xfrm>
          <a:custGeom>
            <a:avLst/>
            <a:gdLst>
              <a:gd name="T0" fmla="*/ 43 w 847"/>
              <a:gd name="T1" fmla="*/ 582 h 613"/>
              <a:gd name="T2" fmla="*/ 43 w 847"/>
              <a:gd name="T3" fmla="*/ 582 h 613"/>
              <a:gd name="T4" fmla="*/ 102 w 847"/>
              <a:gd name="T5" fmla="*/ 494 h 613"/>
              <a:gd name="T6" fmla="*/ 105 w 847"/>
              <a:gd name="T7" fmla="*/ 495 h 613"/>
              <a:gd name="T8" fmla="*/ 112 w 847"/>
              <a:gd name="T9" fmla="*/ 496 h 613"/>
              <a:gd name="T10" fmla="*/ 734 w 847"/>
              <a:gd name="T11" fmla="*/ 496 h 613"/>
              <a:gd name="T12" fmla="*/ 741 w 847"/>
              <a:gd name="T13" fmla="*/ 495 h 613"/>
              <a:gd name="T14" fmla="*/ 744 w 847"/>
              <a:gd name="T15" fmla="*/ 494 h 613"/>
              <a:gd name="T16" fmla="*/ 746 w 847"/>
              <a:gd name="T17" fmla="*/ 496 h 613"/>
              <a:gd name="T18" fmla="*/ 803 w 847"/>
              <a:gd name="T19" fmla="*/ 582 h 613"/>
              <a:gd name="T20" fmla="*/ 43 w 847"/>
              <a:gd name="T21" fmla="*/ 582 h 613"/>
              <a:gd name="T22" fmla="*/ 108 w 847"/>
              <a:gd name="T23" fmla="*/ 29 h 613"/>
              <a:gd name="T24" fmla="*/ 108 w 847"/>
              <a:gd name="T25" fmla="*/ 29 h 613"/>
              <a:gd name="T26" fmla="*/ 738 w 847"/>
              <a:gd name="T27" fmla="*/ 29 h 613"/>
              <a:gd name="T28" fmla="*/ 738 w 847"/>
              <a:gd name="T29" fmla="*/ 465 h 613"/>
              <a:gd name="T30" fmla="*/ 108 w 847"/>
              <a:gd name="T31" fmla="*/ 465 h 613"/>
              <a:gd name="T32" fmla="*/ 108 w 847"/>
              <a:gd name="T33" fmla="*/ 29 h 613"/>
              <a:gd name="T34" fmla="*/ 844 w 847"/>
              <a:gd name="T35" fmla="*/ 589 h 613"/>
              <a:gd name="T36" fmla="*/ 844 w 847"/>
              <a:gd name="T37" fmla="*/ 589 h 613"/>
              <a:gd name="T38" fmla="*/ 842 w 847"/>
              <a:gd name="T39" fmla="*/ 585 h 613"/>
              <a:gd name="T40" fmla="*/ 842 w 847"/>
              <a:gd name="T41" fmla="*/ 585 h 613"/>
              <a:gd name="T42" fmla="*/ 767 w 847"/>
              <a:gd name="T43" fmla="*/ 473 h 613"/>
              <a:gd name="T44" fmla="*/ 767 w 847"/>
              <a:gd name="T45" fmla="*/ 471 h 613"/>
              <a:gd name="T46" fmla="*/ 769 w 847"/>
              <a:gd name="T47" fmla="*/ 461 h 613"/>
              <a:gd name="T48" fmla="*/ 769 w 847"/>
              <a:gd name="T49" fmla="*/ 33 h 613"/>
              <a:gd name="T50" fmla="*/ 734 w 847"/>
              <a:gd name="T51" fmla="*/ 0 h 613"/>
              <a:gd name="T52" fmla="*/ 112 w 847"/>
              <a:gd name="T53" fmla="*/ 0 h 613"/>
              <a:gd name="T54" fmla="*/ 77 w 847"/>
              <a:gd name="T55" fmla="*/ 33 h 613"/>
              <a:gd name="T56" fmla="*/ 77 w 847"/>
              <a:gd name="T57" fmla="*/ 461 h 613"/>
              <a:gd name="T58" fmla="*/ 79 w 847"/>
              <a:gd name="T59" fmla="*/ 471 h 613"/>
              <a:gd name="T60" fmla="*/ 79 w 847"/>
              <a:gd name="T61" fmla="*/ 473 h 613"/>
              <a:gd name="T62" fmla="*/ 4 w 847"/>
              <a:gd name="T63" fmla="*/ 585 h 613"/>
              <a:gd name="T64" fmla="*/ 4 w 847"/>
              <a:gd name="T65" fmla="*/ 585 h 613"/>
              <a:gd name="T66" fmla="*/ 2 w 847"/>
              <a:gd name="T67" fmla="*/ 589 h 613"/>
              <a:gd name="T68" fmla="*/ 0 w 847"/>
              <a:gd name="T69" fmla="*/ 597 h 613"/>
              <a:gd name="T70" fmla="*/ 15 w 847"/>
              <a:gd name="T71" fmla="*/ 613 h 613"/>
              <a:gd name="T72" fmla="*/ 831 w 847"/>
              <a:gd name="T73" fmla="*/ 613 h 613"/>
              <a:gd name="T74" fmla="*/ 847 w 847"/>
              <a:gd name="T75" fmla="*/ 597 h 613"/>
              <a:gd name="T76" fmla="*/ 844 w 847"/>
              <a:gd name="T77" fmla="*/ 589 h 6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847" h="613">
                <a:moveTo>
                  <a:pt x="43" y="582"/>
                </a:moveTo>
                <a:lnTo>
                  <a:pt x="43" y="582"/>
                </a:lnTo>
                <a:lnTo>
                  <a:pt x="102" y="494"/>
                </a:lnTo>
                <a:lnTo>
                  <a:pt x="105" y="495"/>
                </a:lnTo>
                <a:cubicBezTo>
                  <a:pt x="108" y="495"/>
                  <a:pt x="110" y="496"/>
                  <a:pt x="112" y="496"/>
                </a:cubicBezTo>
                <a:lnTo>
                  <a:pt x="734" y="496"/>
                </a:lnTo>
                <a:cubicBezTo>
                  <a:pt x="736" y="496"/>
                  <a:pt x="739" y="495"/>
                  <a:pt x="741" y="495"/>
                </a:cubicBezTo>
                <a:lnTo>
                  <a:pt x="744" y="494"/>
                </a:lnTo>
                <a:lnTo>
                  <a:pt x="746" y="496"/>
                </a:lnTo>
                <a:lnTo>
                  <a:pt x="803" y="582"/>
                </a:lnTo>
                <a:lnTo>
                  <a:pt x="43" y="582"/>
                </a:lnTo>
                <a:close/>
                <a:moveTo>
                  <a:pt x="108" y="29"/>
                </a:moveTo>
                <a:lnTo>
                  <a:pt x="108" y="29"/>
                </a:lnTo>
                <a:lnTo>
                  <a:pt x="738" y="29"/>
                </a:lnTo>
                <a:lnTo>
                  <a:pt x="738" y="465"/>
                </a:lnTo>
                <a:lnTo>
                  <a:pt x="108" y="465"/>
                </a:lnTo>
                <a:lnTo>
                  <a:pt x="108" y="29"/>
                </a:lnTo>
                <a:close/>
                <a:moveTo>
                  <a:pt x="844" y="589"/>
                </a:moveTo>
                <a:lnTo>
                  <a:pt x="844" y="589"/>
                </a:lnTo>
                <a:lnTo>
                  <a:pt x="842" y="585"/>
                </a:lnTo>
                <a:lnTo>
                  <a:pt x="842" y="585"/>
                </a:lnTo>
                <a:lnTo>
                  <a:pt x="767" y="473"/>
                </a:lnTo>
                <a:lnTo>
                  <a:pt x="767" y="471"/>
                </a:lnTo>
                <a:cubicBezTo>
                  <a:pt x="768" y="467"/>
                  <a:pt x="769" y="464"/>
                  <a:pt x="769" y="461"/>
                </a:cubicBezTo>
                <a:lnTo>
                  <a:pt x="769" y="33"/>
                </a:lnTo>
                <a:cubicBezTo>
                  <a:pt x="769" y="14"/>
                  <a:pt x="753" y="0"/>
                  <a:pt x="734" y="0"/>
                </a:cubicBezTo>
                <a:lnTo>
                  <a:pt x="112" y="0"/>
                </a:lnTo>
                <a:cubicBezTo>
                  <a:pt x="93" y="0"/>
                  <a:pt x="77" y="14"/>
                  <a:pt x="77" y="33"/>
                </a:cubicBezTo>
                <a:lnTo>
                  <a:pt x="77" y="461"/>
                </a:lnTo>
                <a:cubicBezTo>
                  <a:pt x="77" y="464"/>
                  <a:pt x="78" y="467"/>
                  <a:pt x="79" y="471"/>
                </a:cubicBezTo>
                <a:lnTo>
                  <a:pt x="79" y="473"/>
                </a:lnTo>
                <a:lnTo>
                  <a:pt x="4" y="585"/>
                </a:lnTo>
                <a:lnTo>
                  <a:pt x="4" y="585"/>
                </a:lnTo>
                <a:lnTo>
                  <a:pt x="2" y="589"/>
                </a:lnTo>
                <a:cubicBezTo>
                  <a:pt x="0" y="592"/>
                  <a:pt x="0" y="595"/>
                  <a:pt x="0" y="597"/>
                </a:cubicBezTo>
                <a:cubicBezTo>
                  <a:pt x="0" y="606"/>
                  <a:pt x="6" y="613"/>
                  <a:pt x="15" y="613"/>
                </a:cubicBezTo>
                <a:lnTo>
                  <a:pt x="831" y="613"/>
                </a:lnTo>
                <a:cubicBezTo>
                  <a:pt x="840" y="613"/>
                  <a:pt x="847" y="606"/>
                  <a:pt x="847" y="597"/>
                </a:cubicBezTo>
                <a:cubicBezTo>
                  <a:pt x="847" y="595"/>
                  <a:pt x="846" y="592"/>
                  <a:pt x="844" y="589"/>
                </a:cubicBezTo>
                <a:close/>
              </a:path>
            </a:pathLst>
          </a:custGeom>
          <a:solidFill>
            <a:srgbClr val="0CC144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CL">
              <a:solidFill>
                <a:prstClr val="black"/>
              </a:solidFill>
            </a:endParaRPr>
          </a:p>
        </p:txBody>
      </p:sp>
      <p:sp>
        <p:nvSpPr>
          <p:cNvPr id="10" name="Rectángulo 9">
            <a:extLst>
              <a:ext uri="{FF2B5EF4-FFF2-40B4-BE49-F238E27FC236}">
                <a16:creationId xmlns:a16="http://schemas.microsoft.com/office/drawing/2014/main" xmlns="" id="{52DB2E02-B54A-514F-BDA4-EFDA7F802CB0}"/>
              </a:ext>
            </a:extLst>
          </p:cNvPr>
          <p:cNvSpPr/>
          <p:nvPr/>
        </p:nvSpPr>
        <p:spPr>
          <a:xfrm>
            <a:off x="473261" y="411644"/>
            <a:ext cx="6330579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CL" sz="2000" dirty="0">
                <a:solidFill>
                  <a:srgbClr val="15C047"/>
                </a:solidFill>
                <a:latin typeface="ACHS Nueva Serif" pitchFamily="2" charset="77"/>
                <a:cs typeface="Arial" panose="020B0604020202020204" pitchFamily="34" charset="0"/>
              </a:rPr>
              <a:t>Encuesta de satisfacción – Curso  cerrado presencial</a:t>
            </a:r>
          </a:p>
        </p:txBody>
      </p:sp>
      <p:pic>
        <p:nvPicPr>
          <p:cNvPr id="11" name="Imagen 10">
            <a:extLst>
              <a:ext uri="{FF2B5EF4-FFF2-40B4-BE49-F238E27FC236}">
                <a16:creationId xmlns:a16="http://schemas.microsoft.com/office/drawing/2014/main" xmlns="" id="{F7E0F5A1-98C2-AD4B-8707-ABC2A7D517A6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79106" y="496800"/>
            <a:ext cx="1239633" cy="506414"/>
          </a:xfrm>
          <a:prstGeom prst="rect">
            <a:avLst/>
          </a:prstGeom>
        </p:spPr>
      </p:pic>
      <p:cxnSp>
        <p:nvCxnSpPr>
          <p:cNvPr id="12" name="Conector recto 11">
            <a:extLst>
              <a:ext uri="{FF2B5EF4-FFF2-40B4-BE49-F238E27FC236}">
                <a16:creationId xmlns:a16="http://schemas.microsoft.com/office/drawing/2014/main" xmlns="" id="{A9D57230-4199-4046-BF66-AFC00D33CA09}"/>
              </a:ext>
            </a:extLst>
          </p:cNvPr>
          <p:cNvCxnSpPr>
            <a:cxnSpLocks/>
          </p:cNvCxnSpPr>
          <p:nvPr/>
        </p:nvCxnSpPr>
        <p:spPr>
          <a:xfrm>
            <a:off x="535129" y="386604"/>
            <a:ext cx="1297221" cy="0"/>
          </a:xfrm>
          <a:prstGeom prst="line">
            <a:avLst/>
          </a:prstGeom>
          <a:noFill/>
          <a:ln w="22225" cap="flat">
            <a:solidFill>
              <a:srgbClr val="13C045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3" name="Rectángulo 12">
            <a:extLst>
              <a:ext uri="{FF2B5EF4-FFF2-40B4-BE49-F238E27FC236}">
                <a16:creationId xmlns:a16="http://schemas.microsoft.com/office/drawing/2014/main" xmlns="" id="{86BC6BC7-E20A-9247-A50E-0570BBC7EEAE}"/>
              </a:ext>
            </a:extLst>
          </p:cNvPr>
          <p:cNvSpPr/>
          <p:nvPr/>
        </p:nvSpPr>
        <p:spPr>
          <a:xfrm>
            <a:off x="1357049" y="5488534"/>
            <a:ext cx="222018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CL" sz="1600" b="1" dirty="0">
                <a:solidFill>
                  <a:srgbClr val="15C047"/>
                </a:solidFill>
                <a:latin typeface="ACHS Nueva Sans" pitchFamily="2" charset="77"/>
                <a:cs typeface="Arial" panose="020B0604020202020204" pitchFamily="34" charset="0"/>
              </a:rPr>
              <a:t>Escanea este código</a:t>
            </a:r>
          </a:p>
        </p:txBody>
      </p:sp>
      <p:sp>
        <p:nvSpPr>
          <p:cNvPr id="14" name="Rectángulo 13">
            <a:extLst>
              <a:ext uri="{FF2B5EF4-FFF2-40B4-BE49-F238E27FC236}">
                <a16:creationId xmlns:a16="http://schemas.microsoft.com/office/drawing/2014/main" xmlns="" id="{E086CC3D-33B0-3144-9EF3-77898E9C108B}"/>
              </a:ext>
            </a:extLst>
          </p:cNvPr>
          <p:cNvSpPr/>
          <p:nvPr/>
        </p:nvSpPr>
        <p:spPr>
          <a:xfrm>
            <a:off x="7366082" y="5488534"/>
            <a:ext cx="222018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CL" sz="1600" b="1" dirty="0">
                <a:solidFill>
                  <a:srgbClr val="15C047"/>
                </a:solidFill>
                <a:latin typeface="ACHS Nueva Sans" pitchFamily="2" charset="77"/>
                <a:cs typeface="Arial" panose="020B0604020202020204" pitchFamily="34" charset="0"/>
              </a:rPr>
              <a:t>O ingresa a este link</a:t>
            </a:r>
          </a:p>
        </p:txBody>
      </p:sp>
      <p:sp>
        <p:nvSpPr>
          <p:cNvPr id="17" name="Marcador de texto 11">
            <a:extLst>
              <a:ext uri="{FF2B5EF4-FFF2-40B4-BE49-F238E27FC236}">
                <a16:creationId xmlns:a16="http://schemas.microsoft.com/office/drawing/2014/main" xmlns="" id="{72A2680E-4576-5A4B-A104-46E1C4C9804A}"/>
              </a:ext>
            </a:extLst>
          </p:cNvPr>
          <p:cNvSpPr txBox="1">
            <a:spLocks/>
          </p:cNvSpPr>
          <p:nvPr/>
        </p:nvSpPr>
        <p:spPr>
          <a:xfrm>
            <a:off x="5851683" y="2967163"/>
            <a:ext cx="4766959" cy="523875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ctr" defTabSz="1218406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95000"/>
              <a:buFontTx/>
              <a:buNone/>
              <a:tabLst/>
              <a:defRPr sz="1700" b="1" i="0" u="none" strike="noStrike" cap="none" spc="0" baseline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676275" marR="0" indent="-371475" algn="ctr" defTabSz="1218406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tabLst/>
              <a:defRPr lang="es-ES" sz="1600" b="1" i="0" u="none" strike="noStrike" cap="none" spc="0" baseline="0" dirty="0" smtClean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030288" marR="0" indent="-333375" algn="ctr" defTabSz="1218406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50000"/>
              <a:buFontTx/>
              <a:buBlip>
                <a:blip r:embed="rId4">
                  <a:extLst>
                    <a:ext uri="{96DAC541-7B7A-43D3-8B79-37D633B846F1}">
                      <asvg:svgBlip xmlns:asvg="http://schemas.microsoft.com/office/drawing/2016/SVG/main" xmlns="" r:embed="rId5"/>
                    </a:ext>
                  </a:extLst>
                </a:blip>
              </a:buBlip>
              <a:tabLst/>
              <a:defRPr sz="1400" b="1" i="0" u="none" strike="noStrike" cap="none" spc="0" baseline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1342232" marR="0" indent="-332582" algn="ctr" defTabSz="1218406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50000"/>
              <a:buFontTx/>
              <a:buBlip>
                <a:blip r:embed="rId4">
                  <a:extLst>
                    <a:ext uri="{96DAC541-7B7A-43D3-8B79-37D633B846F1}">
                      <asvg:svgBlip xmlns:asvg="http://schemas.microsoft.com/office/drawing/2016/SVG/main" xmlns="" r:embed="rId5"/>
                    </a:ext>
                  </a:extLst>
                </a:blip>
              </a:buBlip>
              <a:tabLst/>
              <a:defRPr sz="1400" b="1" i="0" u="none" strike="noStrike" cap="none" spc="0" baseline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675607" marR="0" indent="-364332" algn="ctr" defTabSz="1218406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50000"/>
              <a:buFontTx/>
              <a:buBlip>
                <a:blip r:embed="rId4">
                  <a:extLst>
                    <a:ext uri="{96DAC541-7B7A-43D3-8B79-37D633B846F1}">
                      <asvg:svgBlip xmlns:asvg="http://schemas.microsoft.com/office/drawing/2016/SVG/main" xmlns="" r:embed="rId5"/>
                    </a:ext>
                  </a:extLst>
                </a:blip>
              </a:buBlip>
              <a:tabLst>
                <a:tab pos="1571625" algn="l"/>
              </a:tabLst>
              <a:defRPr sz="1400" b="1" i="0" u="none" strike="noStrike" cap="none" spc="0" baseline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buClr>
                <a:srgbClr val="83B727"/>
              </a:buClr>
              <a:defRPr/>
            </a:pPr>
            <a:r>
              <a:rPr lang="es-CL" sz="2400" b="0" u="sng" kern="0" dirty="0">
                <a:solidFill>
                  <a:srgbClr val="00C42A"/>
                </a:solidFill>
                <a:latin typeface="ACHS Nueva Sans Medium" pitchFamily="2" charset="77"/>
              </a:rPr>
              <a:t>tinyurl.</a:t>
            </a:r>
            <a:r>
              <a:rPr lang="es-CL" sz="2400" b="0" u="sng" kern="0" dirty="0">
                <a:solidFill>
                  <a:srgbClr val="00C42A"/>
                </a:solidFill>
                <a:latin typeface="ACHS Nueva Sans" pitchFamily="2" charset="77"/>
              </a:rPr>
              <a:t>com</a:t>
            </a:r>
            <a:r>
              <a:rPr lang="es-CL" sz="2400" b="0" u="sng" kern="0" dirty="0">
                <a:solidFill>
                  <a:srgbClr val="00C42A"/>
                </a:solidFill>
                <a:latin typeface="ACHS Nueva Sans Medium" pitchFamily="2" charset="77"/>
              </a:rPr>
              <a:t>/</a:t>
            </a:r>
            <a:r>
              <a:rPr lang="es-CL" sz="2400" b="0" u="sng" kern="0" dirty="0" err="1">
                <a:solidFill>
                  <a:srgbClr val="00C42A"/>
                </a:solidFill>
                <a:latin typeface="ACHS Nueva Sans Medium" pitchFamily="2" charset="77"/>
              </a:rPr>
              <a:t>ujnzkjew</a:t>
            </a:r>
            <a:endParaRPr lang="es-CL" sz="2400" b="0" u="sng" kern="0" dirty="0">
              <a:solidFill>
                <a:srgbClr val="00C42A"/>
              </a:solidFill>
              <a:latin typeface="ACHS Nueva Sans Medium" pitchFamily="2" charset="77"/>
            </a:endParaRPr>
          </a:p>
        </p:txBody>
      </p:sp>
      <p:pic>
        <p:nvPicPr>
          <p:cNvPr id="18" name="Imagen 17">
            <a:extLst>
              <a:ext uri="{FF2B5EF4-FFF2-40B4-BE49-F238E27FC236}">
                <a16:creationId xmlns:a16="http://schemas.microsoft.com/office/drawing/2014/main" xmlns="" id="{2702EFA0-33F1-4245-8373-7B1B273255C4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633680" y="2590800"/>
            <a:ext cx="1657927" cy="16764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95966641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xmlns="" id="{AC605557-E92C-284E-A185-854894AB00B2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3987" name="Diapositiva de think-cell" r:id="rId5" imgW="7772400" imgH="10058400" progId="TCLayout.ActiveDocument.1">
                  <p:embed/>
                </p:oleObj>
              </mc:Choice>
              <mc:Fallback>
                <p:oleObj name="Diapositiva de think-cell" r:id="rId5" imgW="7772400" imgH="10058400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:a16="http://schemas.microsoft.com/office/drawing/2014/main" xmlns="" id="{AC605557-E92C-284E-A185-854894AB00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Text Placeholder 16">
            <a:extLst>
              <a:ext uri="{FF2B5EF4-FFF2-40B4-BE49-F238E27FC236}">
                <a16:creationId xmlns:a16="http://schemas.microsoft.com/office/drawing/2014/main" xmlns="" id="{4641AB49-6C77-6FC9-A51B-7DE0EEA97F8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>
            <a:normAutofit fontScale="92500"/>
          </a:bodyPr>
          <a:lstStyle/>
          <a:p>
            <a:r>
              <a:rPr lang="x-none" dirty="0">
                <a:latin typeface="ACHS Nueva Serif" pitchFamily="2" charset="77"/>
              </a:rPr>
              <a:t>Muchas</a:t>
            </a:r>
          </a:p>
          <a:p>
            <a:r>
              <a:rPr lang="en-US" dirty="0">
                <a:latin typeface="ACHS Nueva Serif" pitchFamily="2" charset="77"/>
              </a:rPr>
              <a:t>g</a:t>
            </a:r>
            <a:r>
              <a:rPr lang="x-none" dirty="0">
                <a:latin typeface="ACHS Nueva Serif" pitchFamily="2" charset="77"/>
              </a:rPr>
              <a:t>racias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xmlns="" id="{679A60EB-ADA8-4A42-0140-DF2009B0BE2B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endParaRPr lang="x-none">
              <a:latin typeface="ACHS Nueva Sans Medium" pitchFamily="2" charset="77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5203299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Marcador de texto 4">
            <a:extLst>
              <a:ext uri="{FF2B5EF4-FFF2-40B4-BE49-F238E27FC236}">
                <a16:creationId xmlns:a16="http://schemas.microsoft.com/office/drawing/2014/main" xmlns="" id="{1CACD16F-3652-7549-BC2D-26C3F26B4713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/>
        <p:txBody>
          <a:bodyPr>
            <a:normAutofit/>
          </a:bodyPr>
          <a:lstStyle/>
          <a:p>
            <a:r>
              <a:rPr lang="es-CL" dirty="0">
                <a:latin typeface="ACHS Nueva Serif" pitchFamily="2" charset="77"/>
              </a:rPr>
              <a:t>Introducción</a:t>
            </a:r>
          </a:p>
        </p:txBody>
      </p:sp>
      <p:sp>
        <p:nvSpPr>
          <p:cNvPr id="6" name="Marcador de texto 5">
            <a:extLst>
              <a:ext uri="{FF2B5EF4-FFF2-40B4-BE49-F238E27FC236}">
                <a16:creationId xmlns:a16="http://schemas.microsoft.com/office/drawing/2014/main" xmlns="" id="{428234B7-C6B4-9F41-8A16-FE6C356217C0}"/>
              </a:ext>
            </a:extLst>
          </p:cNvPr>
          <p:cNvSpPr>
            <a:spLocks noGrp="1"/>
          </p:cNvSpPr>
          <p:nvPr>
            <p:ph type="body" sz="quarter" idx="62"/>
          </p:nvPr>
        </p:nvSpPr>
        <p:spPr/>
        <p:txBody>
          <a:bodyPr/>
          <a:lstStyle/>
          <a:p>
            <a:r>
              <a:rPr lang="es-CL" dirty="0">
                <a:latin typeface="ACHS Nueva Sans Medium" pitchFamily="2" charset="77"/>
              </a:rPr>
              <a:t>¿Qué es el hantavirus?</a:t>
            </a:r>
          </a:p>
        </p:txBody>
      </p:sp>
      <p:sp>
        <p:nvSpPr>
          <p:cNvPr id="15" name="Marcador de texto 5">
            <a:extLst>
              <a:ext uri="{FF2B5EF4-FFF2-40B4-BE49-F238E27FC236}">
                <a16:creationId xmlns:a16="http://schemas.microsoft.com/office/drawing/2014/main" xmlns="" id="{63E0A03E-7397-064E-BCCE-D92AC4069E98}"/>
              </a:ext>
            </a:extLst>
          </p:cNvPr>
          <p:cNvSpPr txBox="1">
            <a:spLocks/>
          </p:cNvSpPr>
          <p:nvPr/>
        </p:nvSpPr>
        <p:spPr>
          <a:xfrm>
            <a:off x="449261" y="1539081"/>
            <a:ext cx="4154269" cy="4569619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1600" b="0" i="0" u="none" strike="noStrike" cap="none" spc="0" baseline="0">
                <a:solidFill>
                  <a:schemeClr val="accent1"/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1pPr>
            <a:lvl2pPr marL="3048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6096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9144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2192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285750" indent="-285750">
              <a:lnSpc>
                <a:spcPct val="100000"/>
              </a:lnSpc>
              <a:buClr>
                <a:schemeClr val="accent1"/>
              </a:buClr>
              <a:buFont typeface="Wingdings" pitchFamily="2" charset="2"/>
              <a:buChar char="§"/>
            </a:pPr>
            <a:r>
              <a:rPr lang="es-CL" sz="1600" dirty="0">
                <a:solidFill>
                  <a:schemeClr val="tx1"/>
                </a:solidFill>
                <a:latin typeface="ACHS Nueva Sans Medium" pitchFamily="2" charset="77"/>
              </a:rPr>
              <a:t>El Síndrome Pulmonar por </a:t>
            </a:r>
            <a:r>
              <a:rPr lang="es-CL" sz="1600" b="1" dirty="0">
                <a:latin typeface="ACHS Nueva Sans Medium" pitchFamily="2" charset="77"/>
              </a:rPr>
              <a:t>Hantavirus es una enfermedad infecciosa aguda</a:t>
            </a:r>
            <a:r>
              <a:rPr lang="es-CL" sz="1600" dirty="0">
                <a:solidFill>
                  <a:schemeClr val="tx1"/>
                </a:solidFill>
                <a:latin typeface="ACHS Nueva Sans Medium" pitchFamily="2" charset="77"/>
              </a:rPr>
              <a:t>, habitualmente grave, que puede ser mortal, presente en Chile desde la década de los 90.</a:t>
            </a:r>
          </a:p>
          <a:p>
            <a:pPr marL="285750" indent="-285750">
              <a:lnSpc>
                <a:spcPct val="100000"/>
              </a:lnSpc>
              <a:buClr>
                <a:schemeClr val="accent1"/>
              </a:buClr>
              <a:buFont typeface="Wingdings" pitchFamily="2" charset="2"/>
              <a:buChar char="§"/>
            </a:pPr>
            <a:r>
              <a:rPr lang="es-CL" sz="1600" dirty="0">
                <a:solidFill>
                  <a:schemeClr val="tx1"/>
                </a:solidFill>
                <a:latin typeface="ACHS Nueva Sans Medium" pitchFamily="2" charset="77"/>
              </a:rPr>
              <a:t>Se adquiere por </a:t>
            </a:r>
            <a:r>
              <a:rPr lang="es-CL" sz="1600" b="1" dirty="0">
                <a:solidFill>
                  <a:srgbClr val="13C045"/>
                </a:solidFill>
                <a:latin typeface="ACHS Nueva Sans Medium" pitchFamily="2" charset="77"/>
              </a:rPr>
              <a:t>contacto con fluidos de ratones silvestres de “cola larga</a:t>
            </a:r>
            <a:r>
              <a:rPr lang="es-CL" sz="1600" dirty="0">
                <a:solidFill>
                  <a:schemeClr val="tx1"/>
                </a:solidFill>
                <a:latin typeface="ACHS Nueva Sans Medium" pitchFamily="2" charset="77"/>
              </a:rPr>
              <a:t>” (Oligorizomys longicaudatus) portadores del virus, principalmente a través de las fecas y orina que dejan en los matorrales o en espacios cerrados como cabañas y bodegas. </a:t>
            </a:r>
          </a:p>
        </p:txBody>
      </p:sp>
      <p:pic>
        <p:nvPicPr>
          <p:cNvPr id="19" name="Imagen 18">
            <a:extLst>
              <a:ext uri="{FF2B5EF4-FFF2-40B4-BE49-F238E27FC236}">
                <a16:creationId xmlns:a16="http://schemas.microsoft.com/office/drawing/2014/main" xmlns="" id="{92A12DB3-D7A8-CC49-B909-80B7450E2AF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553200" y="1709319"/>
            <a:ext cx="5221198" cy="5148681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9586555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Marcador de texto 4">
            <a:extLst>
              <a:ext uri="{FF2B5EF4-FFF2-40B4-BE49-F238E27FC236}">
                <a16:creationId xmlns:a16="http://schemas.microsoft.com/office/drawing/2014/main" xmlns="" id="{1CACD16F-3652-7549-BC2D-26C3F26B4713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/>
        <p:txBody>
          <a:bodyPr>
            <a:normAutofit/>
          </a:bodyPr>
          <a:lstStyle/>
          <a:p>
            <a:r>
              <a:rPr lang="es-CL" dirty="0">
                <a:latin typeface="ACHS Nueva Serif" pitchFamily="2" charset="77"/>
              </a:rPr>
              <a:t>Introducción</a:t>
            </a:r>
          </a:p>
        </p:txBody>
      </p:sp>
      <p:sp>
        <p:nvSpPr>
          <p:cNvPr id="6" name="Marcador de texto 5">
            <a:extLst>
              <a:ext uri="{FF2B5EF4-FFF2-40B4-BE49-F238E27FC236}">
                <a16:creationId xmlns:a16="http://schemas.microsoft.com/office/drawing/2014/main" xmlns="" id="{428234B7-C6B4-9F41-8A16-FE6C356217C0}"/>
              </a:ext>
            </a:extLst>
          </p:cNvPr>
          <p:cNvSpPr>
            <a:spLocks noGrp="1"/>
          </p:cNvSpPr>
          <p:nvPr>
            <p:ph type="body" sz="quarter" idx="62"/>
          </p:nvPr>
        </p:nvSpPr>
        <p:spPr/>
        <p:txBody>
          <a:bodyPr/>
          <a:lstStyle/>
          <a:p>
            <a:r>
              <a:rPr lang="es-CL" dirty="0">
                <a:latin typeface="ACHS Nueva Sans Medium" pitchFamily="2" charset="77"/>
              </a:rPr>
              <a:t>¿Qué es el hantavirus?</a:t>
            </a:r>
          </a:p>
        </p:txBody>
      </p:sp>
      <p:sp>
        <p:nvSpPr>
          <p:cNvPr id="15" name="Marcador de texto 5">
            <a:extLst>
              <a:ext uri="{FF2B5EF4-FFF2-40B4-BE49-F238E27FC236}">
                <a16:creationId xmlns:a16="http://schemas.microsoft.com/office/drawing/2014/main" xmlns="" id="{63E0A03E-7397-064E-BCCE-D92AC4069E98}"/>
              </a:ext>
            </a:extLst>
          </p:cNvPr>
          <p:cNvSpPr txBox="1">
            <a:spLocks/>
          </p:cNvSpPr>
          <p:nvPr/>
        </p:nvSpPr>
        <p:spPr>
          <a:xfrm>
            <a:off x="449261" y="1539081"/>
            <a:ext cx="4154269" cy="4569619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1600" b="0" i="0" u="none" strike="noStrike" cap="none" spc="0" baseline="0">
                <a:solidFill>
                  <a:schemeClr val="accent1"/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1pPr>
            <a:lvl2pPr marL="3048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6096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9144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2192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285750" indent="-285750">
              <a:lnSpc>
                <a:spcPct val="100000"/>
              </a:lnSpc>
              <a:buClr>
                <a:schemeClr val="accent1"/>
              </a:buClr>
              <a:buFont typeface="Wingdings" pitchFamily="2" charset="2"/>
              <a:buChar char="§"/>
            </a:pPr>
            <a:r>
              <a:rPr lang="es-CL" sz="1600" dirty="0">
                <a:solidFill>
                  <a:schemeClr val="tx1"/>
                </a:solidFill>
                <a:latin typeface="ACHS Nueva Sans Medium" pitchFamily="2" charset="77"/>
              </a:rPr>
              <a:t>Los aerosoles de esta orina son inhalados por las personas produciéndose el contagio.</a:t>
            </a:r>
          </a:p>
          <a:p>
            <a:pPr marL="285750" indent="-285750">
              <a:lnSpc>
                <a:spcPct val="100000"/>
              </a:lnSpc>
              <a:buClr>
                <a:schemeClr val="accent1"/>
              </a:buClr>
              <a:buFont typeface="Wingdings" pitchFamily="2" charset="2"/>
              <a:buChar char="§"/>
            </a:pPr>
            <a:r>
              <a:rPr lang="es-CL" sz="1600" dirty="0">
                <a:solidFill>
                  <a:schemeClr val="tx1"/>
                </a:solidFill>
                <a:latin typeface="ACHS Nueva Sans Medium" pitchFamily="2" charset="77"/>
              </a:rPr>
              <a:t>La época de primavera y verano es propicia para el desarrollo de la enfermedad, debido a la mayor circulación de visitantes en campos y bosques.</a:t>
            </a:r>
          </a:p>
          <a:p>
            <a:pPr>
              <a:lnSpc>
                <a:spcPct val="100000"/>
              </a:lnSpc>
              <a:buClr>
                <a:schemeClr val="accent1"/>
              </a:buClr>
            </a:pPr>
            <a:endParaRPr lang="es-CL" sz="1600" dirty="0">
              <a:solidFill>
                <a:schemeClr val="tx1"/>
              </a:solidFill>
              <a:latin typeface="ACHS Nueva Sans Medium" pitchFamily="2" charset="77"/>
            </a:endParaRPr>
          </a:p>
        </p:txBody>
      </p:sp>
      <p:pic>
        <p:nvPicPr>
          <p:cNvPr id="21" name="Imagen 20">
            <a:extLst>
              <a:ext uri="{FF2B5EF4-FFF2-40B4-BE49-F238E27FC236}">
                <a16:creationId xmlns:a16="http://schemas.microsoft.com/office/drawing/2014/main" xmlns="" id="{CD520D0A-D02A-3741-BD7D-3E613B2CA65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flipH="1">
            <a:off x="6936512" y="1936377"/>
            <a:ext cx="4780700" cy="485539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591948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n 9">
            <a:extLst>
              <a:ext uri="{FF2B5EF4-FFF2-40B4-BE49-F238E27FC236}">
                <a16:creationId xmlns:a16="http://schemas.microsoft.com/office/drawing/2014/main" xmlns="" id="{DEF4ED1F-4F09-C245-949A-F13EB598A438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334" t="4590" r="7144" b="26606"/>
          <a:stretch/>
        </p:blipFill>
        <p:spPr>
          <a:xfrm>
            <a:off x="4473574" y="1516162"/>
            <a:ext cx="7718426" cy="5341838"/>
          </a:xfrm>
          <a:prstGeom prst="rect">
            <a:avLst/>
          </a:prstGeom>
        </p:spPr>
      </p:pic>
      <p:sp>
        <p:nvSpPr>
          <p:cNvPr id="13" name="Text Placeholder 14">
            <a:extLst>
              <a:ext uri="{FF2B5EF4-FFF2-40B4-BE49-F238E27FC236}">
                <a16:creationId xmlns:a16="http://schemas.microsoft.com/office/drawing/2014/main" xmlns="" id="{E46F6569-3362-9B4A-A919-B26864FFD441}"/>
              </a:ext>
            </a:extLst>
          </p:cNvPr>
          <p:cNvSpPr txBox="1">
            <a:spLocks/>
          </p:cNvSpPr>
          <p:nvPr/>
        </p:nvSpPr>
        <p:spPr>
          <a:xfrm>
            <a:off x="449262" y="496571"/>
            <a:ext cx="9865812" cy="52387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2000" b="0" kern="1200">
                <a:solidFill>
                  <a:schemeClr val="accent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04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609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219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CL" dirty="0">
                <a:latin typeface="ACHS Nueva Serif" pitchFamily="2" charset="77"/>
              </a:rPr>
              <a:t>Introducción</a:t>
            </a:r>
          </a:p>
        </p:txBody>
      </p:sp>
      <p:sp>
        <p:nvSpPr>
          <p:cNvPr id="14" name="Text Placeholder 15">
            <a:extLst>
              <a:ext uri="{FF2B5EF4-FFF2-40B4-BE49-F238E27FC236}">
                <a16:creationId xmlns:a16="http://schemas.microsoft.com/office/drawing/2014/main" xmlns="" id="{D3805396-B27F-B84D-AECF-0AE73F0A4B8D}"/>
              </a:ext>
            </a:extLst>
          </p:cNvPr>
          <p:cNvSpPr txBox="1">
            <a:spLocks/>
          </p:cNvSpPr>
          <p:nvPr/>
        </p:nvSpPr>
        <p:spPr>
          <a:xfrm>
            <a:off x="449262" y="1159880"/>
            <a:ext cx="9865812" cy="35628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16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04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609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219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CL" dirty="0">
                <a:solidFill>
                  <a:schemeClr val="tx1"/>
                </a:solidFill>
                <a:latin typeface="ACHS Nueva Sans Medium" pitchFamily="2" charset="77"/>
              </a:rPr>
              <a:t>¿Quiénes están expuestos al hantavirus?</a:t>
            </a:r>
            <a:endParaRPr lang="x-none">
              <a:solidFill>
                <a:schemeClr val="tx1"/>
              </a:solidFill>
              <a:latin typeface="ACHS Nueva Sans Medium" pitchFamily="2" charset="77"/>
            </a:endParaRPr>
          </a:p>
        </p:txBody>
      </p:sp>
      <p:sp>
        <p:nvSpPr>
          <p:cNvPr id="15" name="Marcador de texto 5">
            <a:extLst>
              <a:ext uri="{FF2B5EF4-FFF2-40B4-BE49-F238E27FC236}">
                <a16:creationId xmlns:a16="http://schemas.microsoft.com/office/drawing/2014/main" xmlns="" id="{EBBB4682-A25E-F14C-9389-C34882CC8467}"/>
              </a:ext>
            </a:extLst>
          </p:cNvPr>
          <p:cNvSpPr txBox="1">
            <a:spLocks/>
          </p:cNvSpPr>
          <p:nvPr/>
        </p:nvSpPr>
        <p:spPr>
          <a:xfrm>
            <a:off x="449263" y="1539081"/>
            <a:ext cx="3228216" cy="4822347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1600" b="0" i="0" u="none" strike="noStrike" cap="none" spc="0" baseline="0">
                <a:solidFill>
                  <a:schemeClr val="accent1"/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1pPr>
            <a:lvl2pPr marL="3048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6096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9144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2192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285750" indent="-285750">
              <a:lnSpc>
                <a:spcPct val="100000"/>
              </a:lnSpc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dirty="0">
                <a:solidFill>
                  <a:schemeClr val="tx1"/>
                </a:solidFill>
                <a:latin typeface="ACHS Nueva Sans Medium" pitchFamily="2" charset="77"/>
              </a:rPr>
              <a:t>Entre las personas que están más expuestas, y en mayor riesgo de contraer este virus, destacan los trabajadores agrícolas, forestales y aserradores; quienes comparten el hábitat del ratón silvestre; las personas que trabajan en áreas rurales y permanecen en ellas en condiciones precarias; quienes hacen picnic o acampan al aire libre o en zonas </a:t>
            </a:r>
            <a:r>
              <a:rPr lang="es-ES" dirty="0" smtClean="0">
                <a:solidFill>
                  <a:schemeClr val="tx1"/>
                </a:solidFill>
                <a:latin typeface="ACHS Nueva Sans Medium" pitchFamily="2" charset="77"/>
              </a:rPr>
              <a:t>de </a:t>
            </a:r>
            <a:r>
              <a:rPr lang="es-ES" dirty="0">
                <a:solidFill>
                  <a:schemeClr val="tx1"/>
                </a:solidFill>
                <a:latin typeface="ACHS Nueva Sans Medium" pitchFamily="2" charset="77"/>
              </a:rPr>
              <a:t>camping.</a:t>
            </a:r>
          </a:p>
          <a:p>
            <a:pPr marL="285750" indent="-285750">
              <a:lnSpc>
                <a:spcPct val="100000"/>
              </a:lnSpc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dirty="0">
                <a:solidFill>
                  <a:schemeClr val="tx1"/>
                </a:solidFill>
                <a:latin typeface="ACHS Nueva Sans Medium" pitchFamily="2" charset="77"/>
              </a:rPr>
              <a:t>Quienes alojan en albergues, cabañas o lugares que han permanecido cerrados por mucho tiempo y las personas que realizan actividades de limpieza en el campo.</a:t>
            </a:r>
          </a:p>
          <a:p>
            <a:pPr>
              <a:lnSpc>
                <a:spcPct val="100000"/>
              </a:lnSpc>
            </a:pPr>
            <a:endParaRPr lang="es-ES" dirty="0">
              <a:solidFill>
                <a:schemeClr val="tx1"/>
              </a:solidFill>
              <a:effectLst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8861976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11">
            <a:extLst>
              <a:ext uri="{FF2B5EF4-FFF2-40B4-BE49-F238E27FC236}">
                <a16:creationId xmlns:a16="http://schemas.microsoft.com/office/drawing/2014/main" xmlns="" id="{8B8147D9-6C1A-C54D-BA01-71B865FA89C4}"/>
              </a:ext>
            </a:extLst>
          </p:cNvPr>
          <p:cNvSpPr txBox="1">
            <a:spLocks/>
          </p:cNvSpPr>
          <p:nvPr/>
        </p:nvSpPr>
        <p:spPr>
          <a:xfrm>
            <a:off x="436561" y="981125"/>
            <a:ext cx="9865812" cy="35628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16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04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609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219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CL" dirty="0">
                <a:latin typeface="ACHS Nueva Sans Medium" pitchFamily="2" charset="77"/>
              </a:rPr>
              <a:t>¿Quiénes están expuestos al hantavirus?</a:t>
            </a:r>
            <a:endParaRPr lang="x-none" dirty="0">
              <a:latin typeface="ACHS Nueva Sans Medium" pitchFamily="2" charset="77"/>
            </a:endParaRPr>
          </a:p>
        </p:txBody>
      </p:sp>
      <p:sp>
        <p:nvSpPr>
          <p:cNvPr id="12" name="Marcador de texto 5">
            <a:extLst>
              <a:ext uri="{FF2B5EF4-FFF2-40B4-BE49-F238E27FC236}">
                <a16:creationId xmlns:a16="http://schemas.microsoft.com/office/drawing/2014/main" xmlns="" id="{C34760D0-66D0-D646-9F53-0F3BDA5B2980}"/>
              </a:ext>
            </a:extLst>
          </p:cNvPr>
          <p:cNvSpPr txBox="1">
            <a:spLocks/>
          </p:cNvSpPr>
          <p:nvPr/>
        </p:nvSpPr>
        <p:spPr>
          <a:xfrm>
            <a:off x="449261" y="1538289"/>
            <a:ext cx="4391680" cy="3970206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1600" b="0" i="0" u="none" strike="noStrike" cap="none" spc="0" baseline="0">
                <a:solidFill>
                  <a:schemeClr val="accent1"/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1pPr>
            <a:lvl2pPr marL="3048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6096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9144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2192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285750" lvl="0" indent="-285750">
              <a:lnSpc>
                <a:spcPct val="100000"/>
              </a:lnSpc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dirty="0">
                <a:solidFill>
                  <a:schemeClr val="accent3">
                    <a:lumMod val="75000"/>
                    <a:lumOff val="25000"/>
                  </a:schemeClr>
                </a:solidFill>
                <a:latin typeface="ACHS Nueva Sans Medium" pitchFamily="2" charset="77"/>
              </a:rPr>
              <a:t>En 1976 se aisló por 1ª vez.</a:t>
            </a:r>
          </a:p>
          <a:p>
            <a:pPr marL="285750" lvl="0" indent="-285750">
              <a:lnSpc>
                <a:spcPct val="100000"/>
              </a:lnSpc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dirty="0">
                <a:solidFill>
                  <a:schemeClr val="accent3">
                    <a:lumMod val="75000"/>
                    <a:lumOff val="25000"/>
                  </a:schemeClr>
                </a:solidFill>
                <a:latin typeface="ACHS Nueva Sans Medium" pitchFamily="2" charset="77"/>
              </a:rPr>
              <a:t>Su nombre: Río coreano </a:t>
            </a:r>
            <a:r>
              <a:rPr lang="es-ES" dirty="0" err="1">
                <a:solidFill>
                  <a:schemeClr val="accent3">
                    <a:lumMod val="75000"/>
                    <a:lumOff val="25000"/>
                  </a:schemeClr>
                </a:solidFill>
                <a:latin typeface="ACHS Nueva Sans Medium" pitchFamily="2" charset="77"/>
              </a:rPr>
              <a:t>Hantaan</a:t>
            </a:r>
            <a:r>
              <a:rPr lang="es-ES" dirty="0">
                <a:solidFill>
                  <a:schemeClr val="accent3">
                    <a:lumMod val="75000"/>
                    <a:lumOff val="25000"/>
                  </a:schemeClr>
                </a:solidFill>
                <a:latin typeface="ACHS Nueva Sans Medium" pitchFamily="2" charset="77"/>
              </a:rPr>
              <a:t> donde habita el </a:t>
            </a:r>
            <a:r>
              <a:rPr lang="es-ES" dirty="0" smtClean="0">
                <a:solidFill>
                  <a:schemeClr val="accent3">
                    <a:lumMod val="75000"/>
                    <a:lumOff val="25000"/>
                  </a:schemeClr>
                </a:solidFill>
                <a:latin typeface="ACHS Nueva Sans Medium" pitchFamily="2" charset="77"/>
              </a:rPr>
              <a:t>roedor.</a:t>
            </a:r>
            <a:endParaRPr lang="es-ES" dirty="0">
              <a:solidFill>
                <a:schemeClr val="accent3">
                  <a:lumMod val="75000"/>
                  <a:lumOff val="25000"/>
                </a:schemeClr>
              </a:solidFill>
              <a:latin typeface="ACHS Nueva Sans Medium" pitchFamily="2" charset="77"/>
            </a:endParaRPr>
          </a:p>
          <a:p>
            <a:pPr marL="285750" lvl="0" indent="-285750">
              <a:lnSpc>
                <a:spcPct val="100000"/>
              </a:lnSpc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dirty="0">
                <a:solidFill>
                  <a:schemeClr val="accent3">
                    <a:lumMod val="75000"/>
                    <a:lumOff val="25000"/>
                  </a:schemeClr>
                </a:solidFill>
                <a:latin typeface="ACHS Nueva Sans Medium" pitchFamily="2" charset="77"/>
              </a:rPr>
              <a:t>Llegó a América en 1993, (Nuevo México, EE.UU.)</a:t>
            </a:r>
          </a:p>
          <a:p>
            <a:pPr marL="285750" lvl="0" indent="-285750">
              <a:lnSpc>
                <a:spcPct val="100000"/>
              </a:lnSpc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dirty="0">
                <a:solidFill>
                  <a:schemeClr val="accent3">
                    <a:lumMod val="75000"/>
                    <a:lumOff val="25000"/>
                  </a:schemeClr>
                </a:solidFill>
                <a:latin typeface="ACHS Nueva Sans Medium" pitchFamily="2" charset="77"/>
              </a:rPr>
              <a:t>1er. caso diagnosticado en Chile fue en 1995.</a:t>
            </a:r>
          </a:p>
          <a:p>
            <a:pPr marL="285750" lvl="0" indent="-285750">
              <a:lnSpc>
                <a:spcPct val="100000"/>
              </a:lnSpc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dirty="0">
                <a:solidFill>
                  <a:schemeClr val="accent3">
                    <a:lumMod val="75000"/>
                    <a:lumOff val="25000"/>
                  </a:schemeClr>
                </a:solidFill>
                <a:latin typeface="ACHS Nueva Sans Medium" pitchFamily="2" charset="77"/>
              </a:rPr>
              <a:t>Estudios serológicos muestran casos retrospectivos desde 1975.</a:t>
            </a:r>
          </a:p>
          <a:p>
            <a:pPr marL="285750" lvl="0" indent="-285750">
              <a:lnSpc>
                <a:spcPct val="100000"/>
              </a:lnSpc>
              <a:buClr>
                <a:schemeClr val="accent1"/>
              </a:buClr>
              <a:buFont typeface="Wingdings" pitchFamily="2" charset="2"/>
              <a:buChar char="§"/>
            </a:pPr>
            <a:endParaRPr lang="es-ES" dirty="0">
              <a:solidFill>
                <a:schemeClr val="accent3">
                  <a:lumMod val="75000"/>
                  <a:lumOff val="25000"/>
                </a:schemeClr>
              </a:solidFill>
              <a:latin typeface="ACHS Nueva Sans Medium" pitchFamily="2" charset="77"/>
            </a:endParaRPr>
          </a:p>
        </p:txBody>
      </p:sp>
      <p:sp>
        <p:nvSpPr>
          <p:cNvPr id="9" name="Marcador de texto 4">
            <a:extLst>
              <a:ext uri="{FF2B5EF4-FFF2-40B4-BE49-F238E27FC236}">
                <a16:creationId xmlns:a16="http://schemas.microsoft.com/office/drawing/2014/main" xmlns="" id="{869712B3-6FC2-8142-B70D-238096216E9C}"/>
              </a:ext>
            </a:extLst>
          </p:cNvPr>
          <p:cNvSpPr txBox="1">
            <a:spLocks/>
          </p:cNvSpPr>
          <p:nvPr/>
        </p:nvSpPr>
        <p:spPr>
          <a:xfrm>
            <a:off x="449262" y="496571"/>
            <a:ext cx="9865812" cy="52387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2000" b="0" kern="1200">
                <a:solidFill>
                  <a:schemeClr val="accent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04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609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219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CL" dirty="0">
                <a:latin typeface="ACHS Nueva Serif" pitchFamily="2" charset="77"/>
              </a:rPr>
              <a:t>Origen del virus Hanta</a:t>
            </a:r>
          </a:p>
        </p:txBody>
      </p:sp>
      <p:grpSp>
        <p:nvGrpSpPr>
          <p:cNvPr id="2" name="Grupo 1">
            <a:extLst>
              <a:ext uri="{FF2B5EF4-FFF2-40B4-BE49-F238E27FC236}">
                <a16:creationId xmlns:a16="http://schemas.microsoft.com/office/drawing/2014/main" xmlns="" id="{E31ECA66-8E84-504D-B8F7-8D8A06F16F86}"/>
              </a:ext>
            </a:extLst>
          </p:cNvPr>
          <p:cNvGrpSpPr/>
          <p:nvPr/>
        </p:nvGrpSpPr>
        <p:grpSpPr>
          <a:xfrm>
            <a:off x="5810710" y="1337407"/>
            <a:ext cx="5079363" cy="5079363"/>
            <a:chOff x="5512536" y="1337407"/>
            <a:chExt cx="5079363" cy="5079363"/>
          </a:xfrm>
        </p:grpSpPr>
        <p:pic>
          <p:nvPicPr>
            <p:cNvPr id="11" name="Imagen 10">
              <a:extLst>
                <a:ext uri="{FF2B5EF4-FFF2-40B4-BE49-F238E27FC236}">
                  <a16:creationId xmlns:a16="http://schemas.microsoft.com/office/drawing/2014/main" xmlns="" id="{925A3AB9-B54A-8145-A48D-7C86082F4D0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645" r="2590" b="12964"/>
            <a:stretch/>
          </p:blipFill>
          <p:spPr>
            <a:xfrm>
              <a:off x="5789363" y="1690476"/>
              <a:ext cx="4525711" cy="4579589"/>
            </a:xfrm>
            <a:prstGeom prst="rect">
              <a:avLst/>
            </a:prstGeom>
          </p:spPr>
        </p:pic>
        <p:pic>
          <p:nvPicPr>
            <p:cNvPr id="8" name="Imagen 7">
              <a:extLst>
                <a:ext uri="{FF2B5EF4-FFF2-40B4-BE49-F238E27FC236}">
                  <a16:creationId xmlns:a16="http://schemas.microsoft.com/office/drawing/2014/main" xmlns="" id="{53301757-2F05-924C-8B67-15C1BF080DC4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5512536" y="1337407"/>
              <a:ext cx="5079363" cy="5079363"/>
            </a:xfrm>
            <a:prstGeom prst="rect">
              <a:avLst/>
            </a:prstGeom>
          </p:spPr>
        </p:pic>
      </p:grpSp>
    </p:spTree>
    <p:custDataLst>
      <p:tags r:id="rId1"/>
    </p:custDataLst>
    <p:extLst>
      <p:ext uri="{BB962C8B-B14F-4D97-AF65-F5344CB8AC3E}">
        <p14:creationId xmlns:p14="http://schemas.microsoft.com/office/powerpoint/2010/main" val="34817909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Marcador de texto 4">
            <a:extLst>
              <a:ext uri="{FF2B5EF4-FFF2-40B4-BE49-F238E27FC236}">
                <a16:creationId xmlns:a16="http://schemas.microsoft.com/office/drawing/2014/main" xmlns="" id="{1CACD16F-3652-7549-BC2D-26C3F26B4713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/>
        <p:txBody>
          <a:bodyPr>
            <a:normAutofit/>
          </a:bodyPr>
          <a:lstStyle/>
          <a:p>
            <a:r>
              <a:rPr lang="es-CL" dirty="0">
                <a:latin typeface="ACHS Nueva Serif" pitchFamily="2" charset="77"/>
              </a:rPr>
              <a:t>Origen del virus Hanta</a:t>
            </a:r>
          </a:p>
        </p:txBody>
      </p:sp>
      <p:sp>
        <p:nvSpPr>
          <p:cNvPr id="6" name="Marcador de texto 5">
            <a:extLst>
              <a:ext uri="{FF2B5EF4-FFF2-40B4-BE49-F238E27FC236}">
                <a16:creationId xmlns:a16="http://schemas.microsoft.com/office/drawing/2014/main" xmlns="" id="{428234B7-C6B4-9F41-8A16-FE6C356217C0}"/>
              </a:ext>
            </a:extLst>
          </p:cNvPr>
          <p:cNvSpPr>
            <a:spLocks noGrp="1"/>
          </p:cNvSpPr>
          <p:nvPr>
            <p:ph type="body" sz="quarter" idx="62"/>
          </p:nvPr>
        </p:nvSpPr>
        <p:spPr/>
        <p:txBody>
          <a:bodyPr/>
          <a:lstStyle/>
          <a:p>
            <a:r>
              <a:rPr lang="es-CL" dirty="0">
                <a:latin typeface="ACHS Nueva Sans Medium" pitchFamily="2" charset="77"/>
              </a:rPr>
              <a:t>Hantavirus familia </a:t>
            </a:r>
            <a:r>
              <a:rPr lang="es-CL" dirty="0" err="1">
                <a:latin typeface="ACHS Nueva Sans Medium" pitchFamily="2" charset="77"/>
              </a:rPr>
              <a:t>bunyaviridae</a:t>
            </a:r>
            <a:r>
              <a:rPr lang="es-CL" dirty="0">
                <a:latin typeface="ACHS Nueva Sans Medium" pitchFamily="2" charset="77"/>
              </a:rPr>
              <a:t>: </a:t>
            </a:r>
          </a:p>
        </p:txBody>
      </p:sp>
      <p:sp>
        <p:nvSpPr>
          <p:cNvPr id="15" name="Marcador de texto 5">
            <a:extLst>
              <a:ext uri="{FF2B5EF4-FFF2-40B4-BE49-F238E27FC236}">
                <a16:creationId xmlns:a16="http://schemas.microsoft.com/office/drawing/2014/main" xmlns="" id="{63E0A03E-7397-064E-BCCE-D92AC4069E98}"/>
              </a:ext>
            </a:extLst>
          </p:cNvPr>
          <p:cNvSpPr txBox="1">
            <a:spLocks/>
          </p:cNvSpPr>
          <p:nvPr/>
        </p:nvSpPr>
        <p:spPr>
          <a:xfrm>
            <a:off x="449262" y="1539082"/>
            <a:ext cx="4363370" cy="4822348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1600" b="0" i="0" u="none" strike="noStrike" cap="none" spc="0" baseline="0">
                <a:solidFill>
                  <a:schemeClr val="accent1"/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1pPr>
            <a:lvl2pPr marL="3048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6096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9144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2192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285750" indent="-285750">
              <a:lnSpc>
                <a:spcPct val="100000"/>
              </a:lnSpc>
              <a:spcBef>
                <a:spcPts val="105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s-CL" sz="1600" dirty="0">
                <a:solidFill>
                  <a:schemeClr val="tx1"/>
                </a:solidFill>
                <a:latin typeface="ACHS Nueva Sans Medium" pitchFamily="2" charset="77"/>
              </a:rPr>
              <a:t>5 géneros : 250 especies.</a:t>
            </a:r>
          </a:p>
          <a:p>
            <a:pPr marL="285750" indent="-285750">
              <a:lnSpc>
                <a:spcPct val="100000"/>
              </a:lnSpc>
              <a:spcBef>
                <a:spcPts val="105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s-CL" sz="1600" dirty="0">
                <a:solidFill>
                  <a:schemeClr val="tx1"/>
                </a:solidFill>
                <a:latin typeface="ACHS Nueva Sans Medium" pitchFamily="2" charset="77"/>
              </a:rPr>
              <a:t>Géneros: Enfermedad Humana.</a:t>
            </a:r>
          </a:p>
          <a:p>
            <a:pPr marL="285750" indent="-285750">
              <a:lnSpc>
                <a:spcPct val="100000"/>
              </a:lnSpc>
              <a:spcBef>
                <a:spcPts val="105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s-CL" sz="1600" dirty="0" err="1">
                <a:solidFill>
                  <a:schemeClr val="tx1"/>
                </a:solidFill>
                <a:latin typeface="ACHS Nueva Sans Medium" pitchFamily="2" charset="77"/>
              </a:rPr>
              <a:t>Bunyavirus</a:t>
            </a:r>
            <a:r>
              <a:rPr lang="es-CL" sz="1600" dirty="0">
                <a:solidFill>
                  <a:schemeClr val="tx1"/>
                </a:solidFill>
                <a:latin typeface="ACHS Nueva Sans Medium" pitchFamily="2" charset="77"/>
              </a:rPr>
              <a:t> Encefalitis </a:t>
            </a:r>
            <a:r>
              <a:rPr lang="es-CL" sz="1600" dirty="0" err="1">
                <a:solidFill>
                  <a:schemeClr val="tx1"/>
                </a:solidFill>
                <a:latin typeface="ACHS Nueva Sans Medium" pitchFamily="2" charset="77"/>
              </a:rPr>
              <a:t>LaCrosse</a:t>
            </a:r>
            <a:r>
              <a:rPr lang="es-CL" sz="1600" dirty="0">
                <a:solidFill>
                  <a:schemeClr val="tx1"/>
                </a:solidFill>
                <a:latin typeface="ACHS Nueva Sans Medium" pitchFamily="2" charset="77"/>
              </a:rPr>
              <a:t>, otras.</a:t>
            </a:r>
          </a:p>
          <a:p>
            <a:pPr marL="285750" indent="-285750">
              <a:lnSpc>
                <a:spcPct val="100000"/>
              </a:lnSpc>
              <a:spcBef>
                <a:spcPts val="105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s-CL" sz="1600" dirty="0" err="1">
                <a:solidFill>
                  <a:schemeClr val="tx1"/>
                </a:solidFill>
                <a:latin typeface="ACHS Nueva Sans Medium" pitchFamily="2" charset="77"/>
              </a:rPr>
              <a:t>Phlebovirus</a:t>
            </a:r>
            <a:r>
              <a:rPr lang="es-CL" sz="1600" dirty="0">
                <a:solidFill>
                  <a:schemeClr val="tx1"/>
                </a:solidFill>
                <a:latin typeface="ACHS Nueva Sans Medium" pitchFamily="2" charset="77"/>
              </a:rPr>
              <a:t> Fiebre Rift Valley, fiebre </a:t>
            </a:r>
            <a:r>
              <a:rPr lang="es-CL" sz="1600" dirty="0" err="1">
                <a:solidFill>
                  <a:schemeClr val="tx1"/>
                </a:solidFill>
                <a:latin typeface="ACHS Nueva Sans Medium" pitchFamily="2" charset="77"/>
              </a:rPr>
              <a:t>sandfly</a:t>
            </a:r>
            <a:r>
              <a:rPr lang="es-CL" sz="1600" dirty="0">
                <a:solidFill>
                  <a:schemeClr val="tx1"/>
                </a:solidFill>
                <a:latin typeface="ACHS Nueva Sans Medium" pitchFamily="2" charset="77"/>
              </a:rPr>
              <a:t>.</a:t>
            </a:r>
          </a:p>
          <a:p>
            <a:pPr marL="285750" indent="-285750">
              <a:lnSpc>
                <a:spcPct val="100000"/>
              </a:lnSpc>
              <a:spcBef>
                <a:spcPts val="105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s-CL" sz="1600" dirty="0" err="1">
                <a:solidFill>
                  <a:schemeClr val="tx1"/>
                </a:solidFill>
                <a:latin typeface="ACHS Nueva Sans Medium" pitchFamily="2" charset="77"/>
              </a:rPr>
              <a:t>Nairovirus</a:t>
            </a:r>
            <a:r>
              <a:rPr lang="es-CL" sz="1600" dirty="0">
                <a:solidFill>
                  <a:schemeClr val="tx1"/>
                </a:solidFill>
                <a:latin typeface="ACHS Nueva Sans Medium" pitchFamily="2" charset="77"/>
              </a:rPr>
              <a:t> Fiebre hemorrágica </a:t>
            </a:r>
            <a:r>
              <a:rPr lang="es-CL" sz="1600" dirty="0" err="1">
                <a:solidFill>
                  <a:schemeClr val="tx1"/>
                </a:solidFill>
                <a:latin typeface="ACHS Nueva Sans Medium" pitchFamily="2" charset="77"/>
              </a:rPr>
              <a:t>Crimean</a:t>
            </a:r>
            <a:r>
              <a:rPr lang="es-CL" sz="1600" dirty="0">
                <a:solidFill>
                  <a:schemeClr val="tx1"/>
                </a:solidFill>
                <a:latin typeface="ACHS Nueva Sans Medium" pitchFamily="2" charset="77"/>
              </a:rPr>
              <a:t>-Congo.</a:t>
            </a:r>
          </a:p>
          <a:p>
            <a:pPr marL="285750" indent="-285750">
              <a:lnSpc>
                <a:spcPct val="100000"/>
              </a:lnSpc>
              <a:spcBef>
                <a:spcPts val="105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s-CL" sz="1600" dirty="0" err="1">
                <a:solidFill>
                  <a:schemeClr val="tx1"/>
                </a:solidFill>
                <a:latin typeface="ACHS Nueva Sans Medium" pitchFamily="2" charset="77"/>
              </a:rPr>
              <a:t>Tospovirus</a:t>
            </a:r>
            <a:r>
              <a:rPr lang="es-CL" sz="1600" dirty="0">
                <a:solidFill>
                  <a:schemeClr val="tx1"/>
                </a:solidFill>
                <a:latin typeface="ACHS Nueva Sans Medium" pitchFamily="2" charset="77"/>
              </a:rPr>
              <a:t> Sin enfermedad humana conocida.</a:t>
            </a:r>
          </a:p>
          <a:p>
            <a:pPr marL="285750" indent="-285750">
              <a:lnSpc>
                <a:spcPct val="100000"/>
              </a:lnSpc>
              <a:spcBef>
                <a:spcPts val="105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s-CL" sz="1600" dirty="0">
                <a:solidFill>
                  <a:schemeClr val="tx1"/>
                </a:solidFill>
                <a:latin typeface="ACHS Nueva Sans Medium" pitchFamily="2" charset="77"/>
              </a:rPr>
              <a:t>Hantavirus Fiebre hemorrágica con </a:t>
            </a:r>
            <a:r>
              <a:rPr lang="es-CL" sz="1600" dirty="0" err="1">
                <a:solidFill>
                  <a:schemeClr val="tx1"/>
                </a:solidFill>
                <a:latin typeface="ACHS Nueva Sans Medium" pitchFamily="2" charset="77"/>
              </a:rPr>
              <a:t>sindrome</a:t>
            </a:r>
            <a:r>
              <a:rPr lang="es-CL" sz="1600" dirty="0">
                <a:solidFill>
                  <a:schemeClr val="tx1"/>
                </a:solidFill>
                <a:latin typeface="ACHS Nueva Sans Medium" pitchFamily="2" charset="77"/>
              </a:rPr>
              <a:t> renal (Asia-Europa).</a:t>
            </a:r>
          </a:p>
          <a:p>
            <a:pPr marL="285750" indent="-285750">
              <a:lnSpc>
                <a:spcPct val="100000"/>
              </a:lnSpc>
              <a:spcBef>
                <a:spcPts val="105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s-CL" sz="1600" dirty="0">
                <a:solidFill>
                  <a:schemeClr val="tx1"/>
                </a:solidFill>
                <a:latin typeface="ACHS Nueva Sans Medium" pitchFamily="2" charset="77"/>
              </a:rPr>
              <a:t>Síndrome cardiopulmonar por Hantavirus.</a:t>
            </a:r>
          </a:p>
          <a:p>
            <a:pPr marL="285750" indent="-285750">
              <a:lnSpc>
                <a:spcPct val="100000"/>
              </a:lnSpc>
              <a:spcBef>
                <a:spcPts val="105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s-CL" sz="1600" dirty="0">
                <a:solidFill>
                  <a:schemeClr val="tx1"/>
                </a:solidFill>
                <a:latin typeface="ACHS Nueva Sans Medium" pitchFamily="2" charset="77"/>
              </a:rPr>
              <a:t>(América) “Virus sin nombre” en USA y “Virus Andes en  Sudamérica”.</a:t>
            </a:r>
          </a:p>
        </p:txBody>
      </p:sp>
      <p:pic>
        <p:nvPicPr>
          <p:cNvPr id="8" name="Imagen 7">
            <a:extLst>
              <a:ext uri="{FF2B5EF4-FFF2-40B4-BE49-F238E27FC236}">
                <a16:creationId xmlns:a16="http://schemas.microsoft.com/office/drawing/2014/main" xmlns="" id="{C1ADC1CF-CF61-2A42-991A-8CBD0150854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471851" y="2035652"/>
            <a:ext cx="5245361" cy="482234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4739285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3094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/CPresentation&gt;&lt;/root&gt;"/>
  <p:tag name="THINKCELLUNDODONOTDELETE" val="0"/>
  <p:tag name="ARTICULATE_DESIGN_ID_TEMA DE OFFICE" val="pRW04Ggm"/>
  <p:tag name="ARTICULATE_PROJECT_OPEN" val="0"/>
  <p:tag name="ARTICULATE_SLIDE_COUNT" val="4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e Office">
  <a:themeElements>
    <a:clrScheme name="Personalizado 11">
      <a:dk1>
        <a:srgbClr val="3F3F3F"/>
      </a:dk1>
      <a:lt1>
        <a:srgbClr val="FFFFFF"/>
      </a:lt1>
      <a:dk2>
        <a:srgbClr val="E9EADD"/>
      </a:dk2>
      <a:lt2>
        <a:srgbClr val="004C14"/>
      </a:lt2>
      <a:accent1>
        <a:srgbClr val="15BF45"/>
      </a:accent1>
      <a:accent2>
        <a:srgbClr val="7CFF44"/>
      </a:accent2>
      <a:accent3>
        <a:srgbClr val="000000"/>
      </a:accent3>
      <a:accent4>
        <a:srgbClr val="348EFE"/>
      </a:accent4>
      <a:accent5>
        <a:srgbClr val="8A72FF"/>
      </a:accent5>
      <a:accent6>
        <a:srgbClr val="002A6C"/>
      </a:accent6>
      <a:hlink>
        <a:srgbClr val="7CFF44"/>
      </a:hlink>
      <a:folHlink>
        <a:srgbClr val="1E117C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7C36543F3D857D488921B9E8F0F0A212" ma:contentTypeVersion="25" ma:contentTypeDescription="Crear nuevo documento." ma:contentTypeScope="" ma:versionID="9ee0241dd85c47aa0eb2b8bd4b0308e3">
  <xsd:schema xmlns:xsd="http://www.w3.org/2001/XMLSchema" xmlns:xs="http://www.w3.org/2001/XMLSchema" xmlns:p="http://schemas.microsoft.com/office/2006/metadata/properties" xmlns:ns2="1b271f39-b556-4564-846a-22e0c3543dec" xmlns:ns3="2c1f9411-02cd-4cb0-88d5-209d7ce520fa" targetNamespace="http://schemas.microsoft.com/office/2006/metadata/properties" ma:root="true" ma:fieldsID="93e81017037b805872da2c304f785326" ns2:_="" ns3:_="">
    <xsd:import namespace="1b271f39-b556-4564-846a-22e0c3543dec"/>
    <xsd:import namespace="2c1f9411-02cd-4cb0-88d5-209d7ce520f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DateTaken" minOccurs="0"/>
                <xsd:element ref="ns2:MediaServiceObjectDetectorVersions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b271f39-b556-4564-846a-22e0c3543de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DateTaken" ma:index="11" nillable="true" ma:displayName="MediaServiceDateTaken" ma:description="" ma:hidden="true" ma:internalName="MediaServiceDateTaken" ma:readOnly="true">
      <xsd:simpleType>
        <xsd:restriction base="dms:Text"/>
      </xsd:simpleType>
    </xsd:element>
    <xsd:element name="MediaServiceObjectDetectorVersions" ma:index="12" nillable="true" ma:displayName="MediaServiceObjectDetectorVersions" ma:description="" ma:hidden="true" ma:internalName="MediaServiceObjectDetectorVersions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5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7" nillable="true" ma:taxonomy="true" ma:internalName="lcf76f155ced4ddcb4097134ff3c332f" ma:taxonomyFieldName="MediaServiceImageTags" ma:displayName="Etiquetas de imagen" ma:readOnly="false" ma:fieldId="{5cf76f15-5ced-4ddc-b409-7134ff3c332f}" ma:taxonomyMulti="true" ma:sspId="3502374b-82e5-4b34-b572-a4b8594eee89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c1f9411-02cd-4cb0-88d5-209d7ce520fa" elementFormDefault="qualified">
    <xsd:import namespace="http://schemas.microsoft.com/office/2006/documentManagement/types"/>
    <xsd:import namespace="http://schemas.microsoft.com/office/infopath/2007/PartnerControls"/>
    <xsd:element name="TaxCatchAll" ma:index="18" nillable="true" ma:displayName="Columna global de taxonomía" ma:hidden="true" ma:list="{35a76299-f8ab-42a3-92f7-492ebfc63ed6}" ma:internalName="TaxCatchAll" ma:showField="CatchAllData" ma:web="2c1f9411-02cd-4cb0-88d5-209d7ce520fa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ni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1b271f39-b556-4564-846a-22e0c3543dec">
      <Terms xmlns="http://schemas.microsoft.com/office/infopath/2007/PartnerControls"/>
    </lcf76f155ced4ddcb4097134ff3c332f>
    <TaxCatchAll xmlns="2c1f9411-02cd-4cb0-88d5-209d7ce520fa" xsi:nil="true"/>
  </documentManagement>
</p:properties>
</file>

<file path=customXml/itemProps1.xml><?xml version="1.0" encoding="utf-8"?>
<ds:datastoreItem xmlns:ds="http://schemas.openxmlformats.org/officeDocument/2006/customXml" ds:itemID="{F0AF32AE-34B8-476B-B631-16A995FE6F4B}"/>
</file>

<file path=customXml/itemProps2.xml><?xml version="1.0" encoding="utf-8"?>
<ds:datastoreItem xmlns:ds="http://schemas.openxmlformats.org/officeDocument/2006/customXml" ds:itemID="{A760AAEA-6ACF-4E51-904B-5FFF8AE60D6F}"/>
</file>

<file path=customXml/itemProps3.xml><?xml version="1.0" encoding="utf-8"?>
<ds:datastoreItem xmlns:ds="http://schemas.openxmlformats.org/officeDocument/2006/customXml" ds:itemID="{04D2CA83-B480-4895-BCC7-8E800A6E6CBF}"/>
</file>

<file path=docProps/app.xml><?xml version="1.0" encoding="utf-8"?>
<Properties xmlns="http://schemas.openxmlformats.org/officeDocument/2006/extended-properties" xmlns:vt="http://schemas.openxmlformats.org/officeDocument/2006/docPropsVTypes">
  <TotalTime>1712</TotalTime>
  <Words>2137</Words>
  <Application>Microsoft Office PowerPoint</Application>
  <PresentationFormat>Panorámica</PresentationFormat>
  <Paragraphs>258</Paragraphs>
  <Slides>41</Slides>
  <Notes>30</Notes>
  <HiddenSlides>0</HiddenSlides>
  <MMClips>0</MMClips>
  <ScaleCrop>false</ScaleCrop>
  <HeadingPairs>
    <vt:vector size="8" baseType="variant">
      <vt:variant>
        <vt:lpstr>Fuentes usadas</vt:lpstr>
      </vt:variant>
      <vt:variant>
        <vt:i4>12</vt:i4>
      </vt:variant>
      <vt:variant>
        <vt:lpstr>Tema</vt:lpstr>
      </vt:variant>
      <vt:variant>
        <vt:i4>2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41</vt:i4>
      </vt:variant>
    </vt:vector>
  </HeadingPairs>
  <TitlesOfParts>
    <vt:vector size="56" baseType="lpstr">
      <vt:lpstr>ACHS Nueva Sans</vt:lpstr>
      <vt:lpstr>ACHS Nueva Sans Medium</vt:lpstr>
      <vt:lpstr>ACHS Nueva Sans SemiBold</vt:lpstr>
      <vt:lpstr>ACHS Nueva Serif</vt:lpstr>
      <vt:lpstr>Arial</vt:lpstr>
      <vt:lpstr>Calibri</vt:lpstr>
      <vt:lpstr>Calibri Light</vt:lpstr>
      <vt:lpstr>Catamaran Light</vt:lpstr>
      <vt:lpstr>Helvetica Neue</vt:lpstr>
      <vt:lpstr>Helvetica Neue Medium</vt:lpstr>
      <vt:lpstr>Verdana</vt:lpstr>
      <vt:lpstr>Wingdings</vt:lpstr>
      <vt:lpstr>Tema de Office</vt:lpstr>
      <vt:lpstr>2_Tema de Office</vt:lpstr>
      <vt:lpstr>Diapositiva de think-cell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PATRICIO ALEJANDRO VALDÉS SAAVEDRA</dc:creator>
  <cp:lastModifiedBy>Saldaño Carreño, Carlos Antonio</cp:lastModifiedBy>
  <cp:revision>440</cp:revision>
  <dcterms:created xsi:type="dcterms:W3CDTF">2023-07-11T20:17:04Z</dcterms:created>
  <dcterms:modified xsi:type="dcterms:W3CDTF">2025-02-24T03:17:2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47178843-3D50-49B0-9D1B-8F553B3FB8F4</vt:lpwstr>
  </property>
  <property fmtid="{D5CDD505-2E9C-101B-9397-08002B2CF9AE}" pid="3" name="ArticulatePath">
    <vt:lpwstr>659691 - HANTA VIRUS - RB2023 </vt:lpwstr>
  </property>
  <property fmtid="{D5CDD505-2E9C-101B-9397-08002B2CF9AE}" pid="4" name="ContentTypeId">
    <vt:lpwstr>0x0101007C36543F3D857D488921B9E8F0F0A212</vt:lpwstr>
  </property>
</Properties>
</file>